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68" r:id="rId2"/>
    <p:sldMasterId id="2147483739" r:id="rId3"/>
    <p:sldMasterId id="2147483793" r:id="rId4"/>
  </p:sldMasterIdLst>
  <p:notesMasterIdLst>
    <p:notesMasterId r:id="rId28"/>
  </p:notesMasterIdLst>
  <p:handoutMasterIdLst>
    <p:handoutMasterId r:id="rId29"/>
  </p:handoutMasterIdLst>
  <p:sldIdLst>
    <p:sldId id="5002" r:id="rId5"/>
    <p:sldId id="5165" r:id="rId6"/>
    <p:sldId id="5184" r:id="rId7"/>
    <p:sldId id="5161" r:id="rId8"/>
    <p:sldId id="307" r:id="rId9"/>
    <p:sldId id="5192" r:id="rId10"/>
    <p:sldId id="5193" r:id="rId11"/>
    <p:sldId id="5186" r:id="rId12"/>
    <p:sldId id="5194" r:id="rId13"/>
    <p:sldId id="5196" r:id="rId14"/>
    <p:sldId id="5197" r:id="rId15"/>
    <p:sldId id="5187" r:id="rId16"/>
    <p:sldId id="5198" r:id="rId17"/>
    <p:sldId id="5200" r:id="rId18"/>
    <p:sldId id="5201" r:id="rId19"/>
    <p:sldId id="5188" r:id="rId20"/>
    <p:sldId id="5189" r:id="rId21"/>
    <p:sldId id="5202" r:id="rId22"/>
    <p:sldId id="5203" r:id="rId23"/>
    <p:sldId id="5191" r:id="rId24"/>
    <p:sldId id="5204" r:id="rId25"/>
    <p:sldId id="5205" r:id="rId26"/>
    <p:sldId id="268" r:id="rId27"/>
  </p:sldIdLst>
  <p:sldSz cx="9144000" cy="5143500" type="screen16x9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760" userDrawn="1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  <p:cmAuthor id="3" name="Liliane Meijnen" initials="LM" lastIdx="19" clrIdx="2">
    <p:extLst>
      <p:ext uri="{19B8F6BF-5375-455C-9EA6-DF929625EA0E}">
        <p15:presenceInfo xmlns:p15="http://schemas.microsoft.com/office/powerpoint/2012/main" userId="Liliane Meijn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BFEA419B-BCDB-4C27-8AB2-1E94C2BD932B}">
  <a:tblStyle styleId="{BFEA419B-BCDB-4C27-8AB2-1E94C2BD932B}" styleName="Elsevier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27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BFEA419B-BCDB-4C27-8AB2-1E94C2BD932C}" styleName="Elsevier dark">
    <a:wholeTbl>
      <a:tcTxStyle>
        <a:fontRef idx="minor">
          <a:prstClr val="white"/>
        </a:fontRef>
        <a:schemeClr val="lt1"/>
      </a:tcTxStyle>
      <a:tcStyle>
        <a:tcBdr>
          <a:left>
            <a:ln w="0" cmpd="sng">
              <a:solidFill>
                <a:srgbClr val="2E2E2E"/>
              </a:solidFill>
            </a:ln>
          </a:left>
          <a:right>
            <a:ln w="0" cmpd="sng">
              <a:solidFill>
                <a:srgbClr val="2E2E2E"/>
              </a:solidFill>
            </a:ln>
          </a:right>
          <a:top>
            <a:ln w="0" cmpd="sng">
              <a:solidFill>
                <a:srgbClr val="2E2E2E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rgbClr val="2E2E2E"/>
          </a:solidFill>
        </a:fill>
      </a:tcStyle>
    </a:wholeTbl>
    <a:band1H>
      <a:tcStyle>
        <a:tcBdr/>
        <a:fill>
          <a:solidFill>
            <a:srgbClr val="2E2E2E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53565A"/>
          </a:solidFill>
        </a:fill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>
          <a:top>
            <a:ln w="12700" cmpd="sng">
              <a:solidFill>
                <a:srgbClr val="2E2E2E"/>
              </a:solidFill>
            </a:ln>
          </a:top>
        </a:tcBdr>
        <a:fill>
          <a:solidFill>
            <a:srgbClr val="3C3C3C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rgbClr val="2E2E2E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82" autoAdjust="0"/>
    <p:restoredTop sz="96327"/>
  </p:normalViewPr>
  <p:slideViewPr>
    <p:cSldViewPr snapToGrid="0" showGuides="1">
      <p:cViewPr varScale="1">
        <p:scale>
          <a:sx n="171" d="100"/>
          <a:sy n="171" d="100"/>
        </p:scale>
        <p:origin x="384" y="168"/>
      </p:cViewPr>
      <p:guideLst>
        <p:guide pos="5760"/>
        <p:guide orient="horz" pos="17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-15230"/>
    </p:cViewPr>
  </p:sorterViewPr>
  <p:notesViewPr>
    <p:cSldViewPr snapToGrid="0">
      <p:cViewPr varScale="1">
        <p:scale>
          <a:sx n="69" d="100"/>
          <a:sy n="69" d="100"/>
        </p:scale>
        <p:origin x="2851" y="6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3FFCF6-56CC-430F-A338-6D2BA0AF7874}" type="doc">
      <dgm:prSet loTypeId="urn:microsoft.com/office/officeart/2008/layout/Lin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E6044D2C-7B57-479C-858A-24080B78C788}">
      <dgm:prSet/>
      <dgm:spPr/>
      <dgm:t>
        <a:bodyPr/>
        <a:lstStyle/>
        <a:p>
          <a:r>
            <a:rPr lang="en-US"/>
            <a:t>History</a:t>
          </a:r>
        </a:p>
      </dgm:t>
    </dgm:pt>
    <dgm:pt modelId="{F3AD2165-7701-46C8-B508-2DBE9B4D4CB4}" type="parTrans" cxnId="{AFAD8E5F-3F52-4277-AAB9-1B3F57921058}">
      <dgm:prSet/>
      <dgm:spPr/>
      <dgm:t>
        <a:bodyPr/>
        <a:lstStyle/>
        <a:p>
          <a:endParaRPr lang="en-US"/>
        </a:p>
      </dgm:t>
    </dgm:pt>
    <dgm:pt modelId="{E0B61243-3601-4447-833D-B90225B021FC}" type="sibTrans" cxnId="{AFAD8E5F-3F52-4277-AAB9-1B3F57921058}">
      <dgm:prSet/>
      <dgm:spPr/>
      <dgm:t>
        <a:bodyPr/>
        <a:lstStyle/>
        <a:p>
          <a:endParaRPr lang="en-US"/>
        </a:p>
      </dgm:t>
    </dgm:pt>
    <dgm:pt modelId="{46B80113-0320-40A0-83B0-AE2B1C36703B}">
      <dgm:prSet/>
      <dgm:spPr/>
      <dgm:t>
        <a:bodyPr/>
        <a:lstStyle/>
        <a:p>
          <a:r>
            <a:rPr lang="en-US"/>
            <a:t>Introduction</a:t>
          </a:r>
        </a:p>
      </dgm:t>
    </dgm:pt>
    <dgm:pt modelId="{1FC63A94-DC5E-42BF-A59D-8A597A3E1320}" type="parTrans" cxnId="{A5A8C78D-3C4A-4FE3-B2BA-94E83C52F1E4}">
      <dgm:prSet/>
      <dgm:spPr/>
      <dgm:t>
        <a:bodyPr/>
        <a:lstStyle/>
        <a:p>
          <a:endParaRPr lang="en-US"/>
        </a:p>
      </dgm:t>
    </dgm:pt>
    <dgm:pt modelId="{1091C090-E70A-4FEF-BC2C-162C0C960F16}" type="sibTrans" cxnId="{A5A8C78D-3C4A-4FE3-B2BA-94E83C52F1E4}">
      <dgm:prSet/>
      <dgm:spPr/>
      <dgm:t>
        <a:bodyPr/>
        <a:lstStyle/>
        <a:p>
          <a:endParaRPr lang="en-US"/>
        </a:p>
      </dgm:t>
    </dgm:pt>
    <dgm:pt modelId="{3D5ABFFA-8C38-4382-BF53-C1ED95DBF98F}">
      <dgm:prSet/>
      <dgm:spPr/>
      <dgm:t>
        <a:bodyPr/>
        <a:lstStyle/>
        <a:p>
          <a:r>
            <a:rPr lang="en-US"/>
            <a:t>Methods</a:t>
          </a:r>
        </a:p>
      </dgm:t>
    </dgm:pt>
    <dgm:pt modelId="{521297E6-9D41-4D00-A122-ADD46361EF8C}" type="parTrans" cxnId="{BF30286F-89FC-4FC0-8A96-9DB899A35B3A}">
      <dgm:prSet/>
      <dgm:spPr/>
      <dgm:t>
        <a:bodyPr/>
        <a:lstStyle/>
        <a:p>
          <a:endParaRPr lang="en-US"/>
        </a:p>
      </dgm:t>
    </dgm:pt>
    <dgm:pt modelId="{47802CAC-E6D0-48EE-BC43-0E6E0CA930F6}" type="sibTrans" cxnId="{BF30286F-89FC-4FC0-8A96-9DB899A35B3A}">
      <dgm:prSet/>
      <dgm:spPr/>
      <dgm:t>
        <a:bodyPr/>
        <a:lstStyle/>
        <a:p>
          <a:endParaRPr lang="en-US"/>
        </a:p>
      </dgm:t>
    </dgm:pt>
    <dgm:pt modelId="{A647D9EF-2C30-4693-BC8F-FBB4E072F5EC}">
      <dgm:prSet/>
      <dgm:spPr/>
      <dgm:t>
        <a:bodyPr/>
        <a:lstStyle/>
        <a:p>
          <a:r>
            <a:rPr lang="en-US" dirty="0"/>
            <a:t>Demo</a:t>
          </a:r>
        </a:p>
      </dgm:t>
    </dgm:pt>
    <dgm:pt modelId="{EF03E25E-B6EC-4E46-8B07-5C5D08507335}" type="parTrans" cxnId="{A7A6AB8D-F137-4B4A-BED5-21E4F83E756C}">
      <dgm:prSet/>
      <dgm:spPr/>
      <dgm:t>
        <a:bodyPr/>
        <a:lstStyle/>
        <a:p>
          <a:endParaRPr lang="en-US"/>
        </a:p>
      </dgm:t>
    </dgm:pt>
    <dgm:pt modelId="{4CEA2589-B2A4-4249-95DF-6B1281A61B76}" type="sibTrans" cxnId="{A7A6AB8D-F137-4B4A-BED5-21E4F83E756C}">
      <dgm:prSet/>
      <dgm:spPr/>
      <dgm:t>
        <a:bodyPr/>
        <a:lstStyle/>
        <a:p>
          <a:endParaRPr lang="en-US"/>
        </a:p>
      </dgm:t>
    </dgm:pt>
    <dgm:pt modelId="{D2D58791-8B8C-4C18-BF14-6F6674433AEB}">
      <dgm:prSet/>
      <dgm:spPr/>
      <dgm:t>
        <a:bodyPr/>
        <a:lstStyle/>
        <a:p>
          <a:r>
            <a:rPr lang="en-US"/>
            <a:t>Results</a:t>
          </a:r>
        </a:p>
      </dgm:t>
    </dgm:pt>
    <dgm:pt modelId="{65D0AD18-5F58-4E3B-8E09-6BB47A10D695}" type="parTrans" cxnId="{6342756C-4D19-453B-AE7E-067D5E6F4544}">
      <dgm:prSet/>
      <dgm:spPr/>
      <dgm:t>
        <a:bodyPr/>
        <a:lstStyle/>
        <a:p>
          <a:endParaRPr lang="en-US"/>
        </a:p>
      </dgm:t>
    </dgm:pt>
    <dgm:pt modelId="{4AD42599-37EC-47C3-8EC9-77B3BE0FF49E}" type="sibTrans" cxnId="{6342756C-4D19-453B-AE7E-067D5E6F4544}">
      <dgm:prSet/>
      <dgm:spPr/>
      <dgm:t>
        <a:bodyPr/>
        <a:lstStyle/>
        <a:p>
          <a:endParaRPr lang="en-US"/>
        </a:p>
      </dgm:t>
    </dgm:pt>
    <dgm:pt modelId="{BA83DFC1-31B4-48A1-A569-77E95D43141A}">
      <dgm:prSet/>
      <dgm:spPr/>
      <dgm:t>
        <a:bodyPr/>
        <a:lstStyle/>
        <a:p>
          <a:r>
            <a:rPr lang="en-US" dirty="0"/>
            <a:t>Conclusions</a:t>
          </a:r>
        </a:p>
      </dgm:t>
    </dgm:pt>
    <dgm:pt modelId="{E9C4EB0D-18FB-41C0-A2FD-776AABF706D5}" type="parTrans" cxnId="{8E026C1C-CC98-445E-840D-6C32EFD37DA5}">
      <dgm:prSet/>
      <dgm:spPr/>
      <dgm:t>
        <a:bodyPr/>
        <a:lstStyle/>
        <a:p>
          <a:endParaRPr lang="en-US"/>
        </a:p>
      </dgm:t>
    </dgm:pt>
    <dgm:pt modelId="{D921F661-2AAF-4E60-914D-7C9095335F84}" type="sibTrans" cxnId="{8E026C1C-CC98-445E-840D-6C32EFD37DA5}">
      <dgm:prSet/>
      <dgm:spPr/>
      <dgm:t>
        <a:bodyPr/>
        <a:lstStyle/>
        <a:p>
          <a:endParaRPr lang="en-US"/>
        </a:p>
      </dgm:t>
    </dgm:pt>
    <dgm:pt modelId="{A1D87EB9-C520-1142-9A7A-D903C5215761}" type="pres">
      <dgm:prSet presAssocID="{073FFCF6-56CC-430F-A338-6D2BA0AF7874}" presName="vert0" presStyleCnt="0">
        <dgm:presLayoutVars>
          <dgm:dir/>
          <dgm:animOne val="branch"/>
          <dgm:animLvl val="lvl"/>
        </dgm:presLayoutVars>
      </dgm:prSet>
      <dgm:spPr/>
    </dgm:pt>
    <dgm:pt modelId="{DC27504E-590E-8546-BDD4-9235D9C084F7}" type="pres">
      <dgm:prSet presAssocID="{E6044D2C-7B57-479C-858A-24080B78C788}" presName="thickLine" presStyleLbl="alignNode1" presStyleIdx="0" presStyleCnt="6"/>
      <dgm:spPr/>
    </dgm:pt>
    <dgm:pt modelId="{1593CABA-8CEA-5C49-A435-AD21CB49F8F6}" type="pres">
      <dgm:prSet presAssocID="{E6044D2C-7B57-479C-858A-24080B78C788}" presName="horz1" presStyleCnt="0"/>
      <dgm:spPr/>
    </dgm:pt>
    <dgm:pt modelId="{3AD33A00-54EF-DC4B-B343-C84EFD0678DA}" type="pres">
      <dgm:prSet presAssocID="{E6044D2C-7B57-479C-858A-24080B78C788}" presName="tx1" presStyleLbl="revTx" presStyleIdx="0" presStyleCnt="6"/>
      <dgm:spPr/>
    </dgm:pt>
    <dgm:pt modelId="{FA1E6E91-17A9-7640-B7B6-650E8F5FBC44}" type="pres">
      <dgm:prSet presAssocID="{E6044D2C-7B57-479C-858A-24080B78C788}" presName="vert1" presStyleCnt="0"/>
      <dgm:spPr/>
    </dgm:pt>
    <dgm:pt modelId="{0CD817CA-F078-054A-9D01-B1A42DF36A46}" type="pres">
      <dgm:prSet presAssocID="{46B80113-0320-40A0-83B0-AE2B1C36703B}" presName="thickLine" presStyleLbl="alignNode1" presStyleIdx="1" presStyleCnt="6"/>
      <dgm:spPr/>
    </dgm:pt>
    <dgm:pt modelId="{8AC6C314-128D-F149-ABB5-9B5C44CB6935}" type="pres">
      <dgm:prSet presAssocID="{46B80113-0320-40A0-83B0-AE2B1C36703B}" presName="horz1" presStyleCnt="0"/>
      <dgm:spPr/>
    </dgm:pt>
    <dgm:pt modelId="{C10D9111-74E3-A447-8EFB-066EEF0C6E35}" type="pres">
      <dgm:prSet presAssocID="{46B80113-0320-40A0-83B0-AE2B1C36703B}" presName="tx1" presStyleLbl="revTx" presStyleIdx="1" presStyleCnt="6"/>
      <dgm:spPr/>
    </dgm:pt>
    <dgm:pt modelId="{58FAEBEB-1922-9244-BEEB-282C4774B035}" type="pres">
      <dgm:prSet presAssocID="{46B80113-0320-40A0-83B0-AE2B1C36703B}" presName="vert1" presStyleCnt="0"/>
      <dgm:spPr/>
    </dgm:pt>
    <dgm:pt modelId="{63AC701C-AEAE-6C40-958B-5DE17985F446}" type="pres">
      <dgm:prSet presAssocID="{3D5ABFFA-8C38-4382-BF53-C1ED95DBF98F}" presName="thickLine" presStyleLbl="alignNode1" presStyleIdx="2" presStyleCnt="6"/>
      <dgm:spPr/>
    </dgm:pt>
    <dgm:pt modelId="{A2658E2D-F853-E641-ADE5-59F3A8725051}" type="pres">
      <dgm:prSet presAssocID="{3D5ABFFA-8C38-4382-BF53-C1ED95DBF98F}" presName="horz1" presStyleCnt="0"/>
      <dgm:spPr/>
    </dgm:pt>
    <dgm:pt modelId="{4C8F583C-92A1-C646-B3E5-4B7A029746AD}" type="pres">
      <dgm:prSet presAssocID="{3D5ABFFA-8C38-4382-BF53-C1ED95DBF98F}" presName="tx1" presStyleLbl="revTx" presStyleIdx="2" presStyleCnt="6"/>
      <dgm:spPr/>
    </dgm:pt>
    <dgm:pt modelId="{3FE871C0-390C-3F40-B24D-5510C845B416}" type="pres">
      <dgm:prSet presAssocID="{3D5ABFFA-8C38-4382-BF53-C1ED95DBF98F}" presName="vert1" presStyleCnt="0"/>
      <dgm:spPr/>
    </dgm:pt>
    <dgm:pt modelId="{AE982B90-1C12-F649-A3D1-E14CF3E19B05}" type="pres">
      <dgm:prSet presAssocID="{A647D9EF-2C30-4693-BC8F-FBB4E072F5EC}" presName="thickLine" presStyleLbl="alignNode1" presStyleIdx="3" presStyleCnt="6"/>
      <dgm:spPr/>
    </dgm:pt>
    <dgm:pt modelId="{97C9261F-5775-4B44-9D6D-3EDF2023F2C6}" type="pres">
      <dgm:prSet presAssocID="{A647D9EF-2C30-4693-BC8F-FBB4E072F5EC}" presName="horz1" presStyleCnt="0"/>
      <dgm:spPr/>
    </dgm:pt>
    <dgm:pt modelId="{73AA6577-D352-B442-9D12-F1FDBF8A3861}" type="pres">
      <dgm:prSet presAssocID="{A647D9EF-2C30-4693-BC8F-FBB4E072F5EC}" presName="tx1" presStyleLbl="revTx" presStyleIdx="3" presStyleCnt="6"/>
      <dgm:spPr/>
    </dgm:pt>
    <dgm:pt modelId="{E20CABEB-C434-1544-BF4C-A2BF0338D68F}" type="pres">
      <dgm:prSet presAssocID="{A647D9EF-2C30-4693-BC8F-FBB4E072F5EC}" presName="vert1" presStyleCnt="0"/>
      <dgm:spPr/>
    </dgm:pt>
    <dgm:pt modelId="{FB0E7FC6-852E-1844-A9DE-740B019974B4}" type="pres">
      <dgm:prSet presAssocID="{D2D58791-8B8C-4C18-BF14-6F6674433AEB}" presName="thickLine" presStyleLbl="alignNode1" presStyleIdx="4" presStyleCnt="6"/>
      <dgm:spPr/>
    </dgm:pt>
    <dgm:pt modelId="{84A07526-2159-8241-AF76-1E29683FFE40}" type="pres">
      <dgm:prSet presAssocID="{D2D58791-8B8C-4C18-BF14-6F6674433AEB}" presName="horz1" presStyleCnt="0"/>
      <dgm:spPr/>
    </dgm:pt>
    <dgm:pt modelId="{15C85A51-FF5F-0045-9242-B2EA3B0B082E}" type="pres">
      <dgm:prSet presAssocID="{D2D58791-8B8C-4C18-BF14-6F6674433AEB}" presName="tx1" presStyleLbl="revTx" presStyleIdx="4" presStyleCnt="6"/>
      <dgm:spPr/>
    </dgm:pt>
    <dgm:pt modelId="{673C9E3F-F442-C247-AD57-F32ACD4A3A37}" type="pres">
      <dgm:prSet presAssocID="{D2D58791-8B8C-4C18-BF14-6F6674433AEB}" presName="vert1" presStyleCnt="0"/>
      <dgm:spPr/>
    </dgm:pt>
    <dgm:pt modelId="{571936ED-C7FA-8340-86FA-6984BE7A1A26}" type="pres">
      <dgm:prSet presAssocID="{BA83DFC1-31B4-48A1-A569-77E95D43141A}" presName="thickLine" presStyleLbl="alignNode1" presStyleIdx="5" presStyleCnt="6"/>
      <dgm:spPr/>
    </dgm:pt>
    <dgm:pt modelId="{39952676-7004-0746-B73B-E5545C314595}" type="pres">
      <dgm:prSet presAssocID="{BA83DFC1-31B4-48A1-A569-77E95D43141A}" presName="horz1" presStyleCnt="0"/>
      <dgm:spPr/>
    </dgm:pt>
    <dgm:pt modelId="{9838E08B-5DCB-3E48-82E9-02D4537EB1CB}" type="pres">
      <dgm:prSet presAssocID="{BA83DFC1-31B4-48A1-A569-77E95D43141A}" presName="tx1" presStyleLbl="revTx" presStyleIdx="5" presStyleCnt="6"/>
      <dgm:spPr/>
    </dgm:pt>
    <dgm:pt modelId="{D4EB0026-E140-C24E-89DE-C4E59356E080}" type="pres">
      <dgm:prSet presAssocID="{BA83DFC1-31B4-48A1-A569-77E95D43141A}" presName="vert1" presStyleCnt="0"/>
      <dgm:spPr/>
    </dgm:pt>
  </dgm:ptLst>
  <dgm:cxnLst>
    <dgm:cxn modelId="{8E026C1C-CC98-445E-840D-6C32EFD37DA5}" srcId="{073FFCF6-56CC-430F-A338-6D2BA0AF7874}" destId="{BA83DFC1-31B4-48A1-A569-77E95D43141A}" srcOrd="5" destOrd="0" parTransId="{E9C4EB0D-18FB-41C0-A2FD-776AABF706D5}" sibTransId="{D921F661-2AAF-4E60-914D-7C9095335F84}"/>
    <dgm:cxn modelId="{553FCF42-C8A3-FE41-BA44-35E6611E05D4}" type="presOf" srcId="{E6044D2C-7B57-479C-858A-24080B78C788}" destId="{3AD33A00-54EF-DC4B-B343-C84EFD0678DA}" srcOrd="0" destOrd="0" presId="urn:microsoft.com/office/officeart/2008/layout/LinedList"/>
    <dgm:cxn modelId="{CA302647-9FFA-024B-9F32-B4E299BF0489}" type="presOf" srcId="{3D5ABFFA-8C38-4382-BF53-C1ED95DBF98F}" destId="{4C8F583C-92A1-C646-B3E5-4B7A029746AD}" srcOrd="0" destOrd="0" presId="urn:microsoft.com/office/officeart/2008/layout/LinedList"/>
    <dgm:cxn modelId="{33A9DD51-516F-C14E-9306-644009197123}" type="presOf" srcId="{BA83DFC1-31B4-48A1-A569-77E95D43141A}" destId="{9838E08B-5DCB-3E48-82E9-02D4537EB1CB}" srcOrd="0" destOrd="0" presId="urn:microsoft.com/office/officeart/2008/layout/LinedList"/>
    <dgm:cxn modelId="{AFAD8E5F-3F52-4277-AAB9-1B3F57921058}" srcId="{073FFCF6-56CC-430F-A338-6D2BA0AF7874}" destId="{E6044D2C-7B57-479C-858A-24080B78C788}" srcOrd="0" destOrd="0" parTransId="{F3AD2165-7701-46C8-B508-2DBE9B4D4CB4}" sibTransId="{E0B61243-3601-4447-833D-B90225B021FC}"/>
    <dgm:cxn modelId="{70145763-B298-2847-BA78-088ECB464E71}" type="presOf" srcId="{D2D58791-8B8C-4C18-BF14-6F6674433AEB}" destId="{15C85A51-FF5F-0045-9242-B2EA3B0B082E}" srcOrd="0" destOrd="0" presId="urn:microsoft.com/office/officeart/2008/layout/LinedList"/>
    <dgm:cxn modelId="{CE63DA6A-C343-EB4C-A72A-5D4BAC92F0FE}" type="presOf" srcId="{073FFCF6-56CC-430F-A338-6D2BA0AF7874}" destId="{A1D87EB9-C520-1142-9A7A-D903C5215761}" srcOrd="0" destOrd="0" presId="urn:microsoft.com/office/officeart/2008/layout/LinedList"/>
    <dgm:cxn modelId="{6342756C-4D19-453B-AE7E-067D5E6F4544}" srcId="{073FFCF6-56CC-430F-A338-6D2BA0AF7874}" destId="{D2D58791-8B8C-4C18-BF14-6F6674433AEB}" srcOrd="4" destOrd="0" parTransId="{65D0AD18-5F58-4E3B-8E09-6BB47A10D695}" sibTransId="{4AD42599-37EC-47C3-8EC9-77B3BE0FF49E}"/>
    <dgm:cxn modelId="{BF30286F-89FC-4FC0-8A96-9DB899A35B3A}" srcId="{073FFCF6-56CC-430F-A338-6D2BA0AF7874}" destId="{3D5ABFFA-8C38-4382-BF53-C1ED95DBF98F}" srcOrd="2" destOrd="0" parTransId="{521297E6-9D41-4D00-A122-ADD46361EF8C}" sibTransId="{47802CAC-E6D0-48EE-BC43-0E6E0CA930F6}"/>
    <dgm:cxn modelId="{3C9F608D-A834-B24E-8D60-1E02FFB6A157}" type="presOf" srcId="{A647D9EF-2C30-4693-BC8F-FBB4E072F5EC}" destId="{73AA6577-D352-B442-9D12-F1FDBF8A3861}" srcOrd="0" destOrd="0" presId="urn:microsoft.com/office/officeart/2008/layout/LinedList"/>
    <dgm:cxn modelId="{A7A6AB8D-F137-4B4A-BED5-21E4F83E756C}" srcId="{073FFCF6-56CC-430F-A338-6D2BA0AF7874}" destId="{A647D9EF-2C30-4693-BC8F-FBB4E072F5EC}" srcOrd="3" destOrd="0" parTransId="{EF03E25E-B6EC-4E46-8B07-5C5D08507335}" sibTransId="{4CEA2589-B2A4-4249-95DF-6B1281A61B76}"/>
    <dgm:cxn modelId="{A5A8C78D-3C4A-4FE3-B2BA-94E83C52F1E4}" srcId="{073FFCF6-56CC-430F-A338-6D2BA0AF7874}" destId="{46B80113-0320-40A0-83B0-AE2B1C36703B}" srcOrd="1" destOrd="0" parTransId="{1FC63A94-DC5E-42BF-A59D-8A597A3E1320}" sibTransId="{1091C090-E70A-4FEF-BC2C-162C0C960F16}"/>
    <dgm:cxn modelId="{5DCAF5F0-0E6B-4D40-A7AC-34196A4A2AC3}" type="presOf" srcId="{46B80113-0320-40A0-83B0-AE2B1C36703B}" destId="{C10D9111-74E3-A447-8EFB-066EEF0C6E35}" srcOrd="0" destOrd="0" presId="urn:microsoft.com/office/officeart/2008/layout/LinedList"/>
    <dgm:cxn modelId="{321958EF-3EF7-CC4C-B1C3-802FDB7464F2}" type="presParOf" srcId="{A1D87EB9-C520-1142-9A7A-D903C5215761}" destId="{DC27504E-590E-8546-BDD4-9235D9C084F7}" srcOrd="0" destOrd="0" presId="urn:microsoft.com/office/officeart/2008/layout/LinedList"/>
    <dgm:cxn modelId="{13D81125-42BB-6640-89EF-1F6043C48274}" type="presParOf" srcId="{A1D87EB9-C520-1142-9A7A-D903C5215761}" destId="{1593CABA-8CEA-5C49-A435-AD21CB49F8F6}" srcOrd="1" destOrd="0" presId="urn:microsoft.com/office/officeart/2008/layout/LinedList"/>
    <dgm:cxn modelId="{9B51CCD8-2400-0643-9481-093E0F4C3578}" type="presParOf" srcId="{1593CABA-8CEA-5C49-A435-AD21CB49F8F6}" destId="{3AD33A00-54EF-DC4B-B343-C84EFD0678DA}" srcOrd="0" destOrd="0" presId="urn:microsoft.com/office/officeart/2008/layout/LinedList"/>
    <dgm:cxn modelId="{7B158B63-A7E8-DB41-B869-EC9BA704774D}" type="presParOf" srcId="{1593CABA-8CEA-5C49-A435-AD21CB49F8F6}" destId="{FA1E6E91-17A9-7640-B7B6-650E8F5FBC44}" srcOrd="1" destOrd="0" presId="urn:microsoft.com/office/officeart/2008/layout/LinedList"/>
    <dgm:cxn modelId="{3E2FE59B-9135-4140-B253-CC0913C41563}" type="presParOf" srcId="{A1D87EB9-C520-1142-9A7A-D903C5215761}" destId="{0CD817CA-F078-054A-9D01-B1A42DF36A46}" srcOrd="2" destOrd="0" presId="urn:microsoft.com/office/officeart/2008/layout/LinedList"/>
    <dgm:cxn modelId="{E1654D63-0ED8-2A4D-B4AD-B022D3FDCC7F}" type="presParOf" srcId="{A1D87EB9-C520-1142-9A7A-D903C5215761}" destId="{8AC6C314-128D-F149-ABB5-9B5C44CB6935}" srcOrd="3" destOrd="0" presId="urn:microsoft.com/office/officeart/2008/layout/LinedList"/>
    <dgm:cxn modelId="{1EA2EE4F-88E4-A44A-B825-124619A249B7}" type="presParOf" srcId="{8AC6C314-128D-F149-ABB5-9B5C44CB6935}" destId="{C10D9111-74E3-A447-8EFB-066EEF0C6E35}" srcOrd="0" destOrd="0" presId="urn:microsoft.com/office/officeart/2008/layout/LinedList"/>
    <dgm:cxn modelId="{14E5DE71-A41E-224F-BC6E-957D9F12A482}" type="presParOf" srcId="{8AC6C314-128D-F149-ABB5-9B5C44CB6935}" destId="{58FAEBEB-1922-9244-BEEB-282C4774B035}" srcOrd="1" destOrd="0" presId="urn:microsoft.com/office/officeart/2008/layout/LinedList"/>
    <dgm:cxn modelId="{E77338FE-D885-2342-97E8-957D06452504}" type="presParOf" srcId="{A1D87EB9-C520-1142-9A7A-D903C5215761}" destId="{63AC701C-AEAE-6C40-958B-5DE17985F446}" srcOrd="4" destOrd="0" presId="urn:microsoft.com/office/officeart/2008/layout/LinedList"/>
    <dgm:cxn modelId="{35B707BE-EE44-B84F-9B6D-3FB64A2AD2D6}" type="presParOf" srcId="{A1D87EB9-C520-1142-9A7A-D903C5215761}" destId="{A2658E2D-F853-E641-ADE5-59F3A8725051}" srcOrd="5" destOrd="0" presId="urn:microsoft.com/office/officeart/2008/layout/LinedList"/>
    <dgm:cxn modelId="{55DC8EBC-8BFA-B244-AC8A-AF04C014852F}" type="presParOf" srcId="{A2658E2D-F853-E641-ADE5-59F3A8725051}" destId="{4C8F583C-92A1-C646-B3E5-4B7A029746AD}" srcOrd="0" destOrd="0" presId="urn:microsoft.com/office/officeart/2008/layout/LinedList"/>
    <dgm:cxn modelId="{9BCCDE7A-63FA-5246-98C0-697558E14864}" type="presParOf" srcId="{A2658E2D-F853-E641-ADE5-59F3A8725051}" destId="{3FE871C0-390C-3F40-B24D-5510C845B416}" srcOrd="1" destOrd="0" presId="urn:microsoft.com/office/officeart/2008/layout/LinedList"/>
    <dgm:cxn modelId="{8612FBFF-47CB-D040-9C4A-AE774C64AD00}" type="presParOf" srcId="{A1D87EB9-C520-1142-9A7A-D903C5215761}" destId="{AE982B90-1C12-F649-A3D1-E14CF3E19B05}" srcOrd="6" destOrd="0" presId="urn:microsoft.com/office/officeart/2008/layout/LinedList"/>
    <dgm:cxn modelId="{617D6615-C505-F647-932A-052739E5DF3A}" type="presParOf" srcId="{A1D87EB9-C520-1142-9A7A-D903C5215761}" destId="{97C9261F-5775-4B44-9D6D-3EDF2023F2C6}" srcOrd="7" destOrd="0" presId="urn:microsoft.com/office/officeart/2008/layout/LinedList"/>
    <dgm:cxn modelId="{FB316AF2-D5D2-B447-8C0F-45E5B92AA65B}" type="presParOf" srcId="{97C9261F-5775-4B44-9D6D-3EDF2023F2C6}" destId="{73AA6577-D352-B442-9D12-F1FDBF8A3861}" srcOrd="0" destOrd="0" presId="urn:microsoft.com/office/officeart/2008/layout/LinedList"/>
    <dgm:cxn modelId="{729907B9-23CC-7D42-A4A5-7EC860567BAE}" type="presParOf" srcId="{97C9261F-5775-4B44-9D6D-3EDF2023F2C6}" destId="{E20CABEB-C434-1544-BF4C-A2BF0338D68F}" srcOrd="1" destOrd="0" presId="urn:microsoft.com/office/officeart/2008/layout/LinedList"/>
    <dgm:cxn modelId="{B6B1E09A-15FC-E140-B6E3-24172B9DE45E}" type="presParOf" srcId="{A1D87EB9-C520-1142-9A7A-D903C5215761}" destId="{FB0E7FC6-852E-1844-A9DE-740B019974B4}" srcOrd="8" destOrd="0" presId="urn:microsoft.com/office/officeart/2008/layout/LinedList"/>
    <dgm:cxn modelId="{C01A796C-FFD2-9D4A-B979-10DC59A594A2}" type="presParOf" srcId="{A1D87EB9-C520-1142-9A7A-D903C5215761}" destId="{84A07526-2159-8241-AF76-1E29683FFE40}" srcOrd="9" destOrd="0" presId="urn:microsoft.com/office/officeart/2008/layout/LinedList"/>
    <dgm:cxn modelId="{0C7A2990-01F1-0A48-8FF3-23D59500C35D}" type="presParOf" srcId="{84A07526-2159-8241-AF76-1E29683FFE40}" destId="{15C85A51-FF5F-0045-9242-B2EA3B0B082E}" srcOrd="0" destOrd="0" presId="urn:microsoft.com/office/officeart/2008/layout/LinedList"/>
    <dgm:cxn modelId="{E2DD07FC-638E-164E-976F-4D192633F1AE}" type="presParOf" srcId="{84A07526-2159-8241-AF76-1E29683FFE40}" destId="{673C9E3F-F442-C247-AD57-F32ACD4A3A37}" srcOrd="1" destOrd="0" presId="urn:microsoft.com/office/officeart/2008/layout/LinedList"/>
    <dgm:cxn modelId="{FA077108-E149-634A-B7CA-010B430B79A4}" type="presParOf" srcId="{A1D87EB9-C520-1142-9A7A-D903C5215761}" destId="{571936ED-C7FA-8340-86FA-6984BE7A1A26}" srcOrd="10" destOrd="0" presId="urn:microsoft.com/office/officeart/2008/layout/LinedList"/>
    <dgm:cxn modelId="{2C203856-A5FD-DC4C-8A37-7EB4A80ABBBB}" type="presParOf" srcId="{A1D87EB9-C520-1142-9A7A-D903C5215761}" destId="{39952676-7004-0746-B73B-E5545C314595}" srcOrd="11" destOrd="0" presId="urn:microsoft.com/office/officeart/2008/layout/LinedList"/>
    <dgm:cxn modelId="{B93EAD82-7368-7544-BD46-5F157E3D8352}" type="presParOf" srcId="{39952676-7004-0746-B73B-E5545C314595}" destId="{9838E08B-5DCB-3E48-82E9-02D4537EB1CB}" srcOrd="0" destOrd="0" presId="urn:microsoft.com/office/officeart/2008/layout/LinedList"/>
    <dgm:cxn modelId="{AFE49912-651A-ED49-947D-1EB9936E7591}" type="presParOf" srcId="{39952676-7004-0746-B73B-E5545C314595}" destId="{D4EB0026-E140-C24E-89DE-C4E59356E080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27504E-590E-8546-BDD4-9235D9C084F7}">
      <dsp:nvSpPr>
        <dsp:cNvPr id="0" name=""/>
        <dsp:cNvSpPr/>
      </dsp:nvSpPr>
      <dsp:spPr>
        <a:xfrm>
          <a:off x="0" y="1902"/>
          <a:ext cx="79914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D33A00-54EF-DC4B-B343-C84EFD0678DA}">
      <dsp:nvSpPr>
        <dsp:cNvPr id="0" name=""/>
        <dsp:cNvSpPr/>
      </dsp:nvSpPr>
      <dsp:spPr>
        <a:xfrm>
          <a:off x="0" y="1902"/>
          <a:ext cx="7991475" cy="648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History</a:t>
          </a:r>
        </a:p>
      </dsp:txBody>
      <dsp:txXfrm>
        <a:off x="0" y="1902"/>
        <a:ext cx="7991475" cy="648917"/>
      </dsp:txXfrm>
    </dsp:sp>
    <dsp:sp modelId="{0CD817CA-F078-054A-9D01-B1A42DF36A46}">
      <dsp:nvSpPr>
        <dsp:cNvPr id="0" name=""/>
        <dsp:cNvSpPr/>
      </dsp:nvSpPr>
      <dsp:spPr>
        <a:xfrm>
          <a:off x="0" y="650820"/>
          <a:ext cx="79914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0D9111-74E3-A447-8EFB-066EEF0C6E35}">
      <dsp:nvSpPr>
        <dsp:cNvPr id="0" name=""/>
        <dsp:cNvSpPr/>
      </dsp:nvSpPr>
      <dsp:spPr>
        <a:xfrm>
          <a:off x="0" y="650820"/>
          <a:ext cx="7991475" cy="648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Introduction</a:t>
          </a:r>
        </a:p>
      </dsp:txBody>
      <dsp:txXfrm>
        <a:off x="0" y="650820"/>
        <a:ext cx="7991475" cy="648917"/>
      </dsp:txXfrm>
    </dsp:sp>
    <dsp:sp modelId="{63AC701C-AEAE-6C40-958B-5DE17985F446}">
      <dsp:nvSpPr>
        <dsp:cNvPr id="0" name=""/>
        <dsp:cNvSpPr/>
      </dsp:nvSpPr>
      <dsp:spPr>
        <a:xfrm>
          <a:off x="0" y="1299738"/>
          <a:ext cx="79914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8F583C-92A1-C646-B3E5-4B7A029746AD}">
      <dsp:nvSpPr>
        <dsp:cNvPr id="0" name=""/>
        <dsp:cNvSpPr/>
      </dsp:nvSpPr>
      <dsp:spPr>
        <a:xfrm>
          <a:off x="0" y="1299738"/>
          <a:ext cx="7991475" cy="648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Methods</a:t>
          </a:r>
        </a:p>
      </dsp:txBody>
      <dsp:txXfrm>
        <a:off x="0" y="1299738"/>
        <a:ext cx="7991475" cy="648917"/>
      </dsp:txXfrm>
    </dsp:sp>
    <dsp:sp modelId="{AE982B90-1C12-F649-A3D1-E14CF3E19B05}">
      <dsp:nvSpPr>
        <dsp:cNvPr id="0" name=""/>
        <dsp:cNvSpPr/>
      </dsp:nvSpPr>
      <dsp:spPr>
        <a:xfrm>
          <a:off x="0" y="1948656"/>
          <a:ext cx="79914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AA6577-D352-B442-9D12-F1FDBF8A3861}">
      <dsp:nvSpPr>
        <dsp:cNvPr id="0" name=""/>
        <dsp:cNvSpPr/>
      </dsp:nvSpPr>
      <dsp:spPr>
        <a:xfrm>
          <a:off x="0" y="1948656"/>
          <a:ext cx="7991475" cy="648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Demo</a:t>
          </a:r>
        </a:p>
      </dsp:txBody>
      <dsp:txXfrm>
        <a:off x="0" y="1948656"/>
        <a:ext cx="7991475" cy="648917"/>
      </dsp:txXfrm>
    </dsp:sp>
    <dsp:sp modelId="{FB0E7FC6-852E-1844-A9DE-740B019974B4}">
      <dsp:nvSpPr>
        <dsp:cNvPr id="0" name=""/>
        <dsp:cNvSpPr/>
      </dsp:nvSpPr>
      <dsp:spPr>
        <a:xfrm>
          <a:off x="0" y="2597574"/>
          <a:ext cx="79914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C85A51-FF5F-0045-9242-B2EA3B0B082E}">
      <dsp:nvSpPr>
        <dsp:cNvPr id="0" name=""/>
        <dsp:cNvSpPr/>
      </dsp:nvSpPr>
      <dsp:spPr>
        <a:xfrm>
          <a:off x="0" y="2597574"/>
          <a:ext cx="7991475" cy="648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Results</a:t>
          </a:r>
        </a:p>
      </dsp:txBody>
      <dsp:txXfrm>
        <a:off x="0" y="2597574"/>
        <a:ext cx="7991475" cy="648917"/>
      </dsp:txXfrm>
    </dsp:sp>
    <dsp:sp modelId="{571936ED-C7FA-8340-86FA-6984BE7A1A26}">
      <dsp:nvSpPr>
        <dsp:cNvPr id="0" name=""/>
        <dsp:cNvSpPr/>
      </dsp:nvSpPr>
      <dsp:spPr>
        <a:xfrm>
          <a:off x="0" y="3246492"/>
          <a:ext cx="79914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38E08B-5DCB-3E48-82E9-02D4537EB1CB}">
      <dsp:nvSpPr>
        <dsp:cNvPr id="0" name=""/>
        <dsp:cNvSpPr/>
      </dsp:nvSpPr>
      <dsp:spPr>
        <a:xfrm>
          <a:off x="0" y="3246492"/>
          <a:ext cx="7991475" cy="648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Conclusions</a:t>
          </a:r>
        </a:p>
      </dsp:txBody>
      <dsp:txXfrm>
        <a:off x="0" y="3246492"/>
        <a:ext cx="7991475" cy="6489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5FACC53-DC5A-474D-BF40-5DEE5F8B64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76045F-ADB6-491B-962A-FF775ED846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6EFF9-8149-4B5D-A6E5-2AE8F4B33535}" type="datetimeFigureOut">
              <a:rPr lang="en-GB" smtClean="0">
                <a:latin typeface="Arial" panose="020B0604020202020204" pitchFamily="34" charset="0"/>
              </a:rPr>
              <a:t>20/04/2023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23ED0C-AA8B-40BA-B6F3-D505E74CA7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13853D-F1D8-47E4-9768-A371E32617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E183A-C4E9-47DF-9822-C1FEB6FD02A0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4002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19DD4CF-C917-4D69-9374-6EFF2E9F78C3}" type="datetimeFigureOut">
              <a:rPr lang="en-GB" smtClean="0"/>
              <a:pPr/>
              <a:t>20/04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7443C7B-F938-4CE9-A268-32817172635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74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1444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58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4414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1417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2638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6162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8590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299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7163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101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8140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6675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7338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7547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0399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7177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1170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09088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959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105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43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95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</a:t>
            </a:r>
            <a:br>
              <a:rPr lang="en-US" noProof="0" dirty="0"/>
            </a:br>
            <a:r>
              <a:rPr lang="en-US" noProof="0" dirty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83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</a:t>
            </a:r>
            <a:br>
              <a:rPr lang="en-US" noProof="0" dirty="0"/>
            </a:br>
            <a:r>
              <a:rPr lang="en-US" noProof="0" dirty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27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36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1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8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316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 dirty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50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01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3" y="2325818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81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noProof="0" dirty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19503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dirty="0"/>
              <a:t>Drag </a:t>
            </a:r>
            <a:r>
              <a:rPr lang="en-US" noProof="0" dirty="0"/>
              <a:t>picture</a:t>
            </a:r>
            <a:r>
              <a:rPr lang="en-US" dirty="0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A798CCC-F599-47BC-84EE-8CAA3D2206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609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35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0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898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61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079500" algn="l"/>
              </a:tabLst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21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20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FCEF2CD-9A3A-421B-94C9-614952CA20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29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bg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B5CBCDE-5E13-4C2D-BD2B-A7F04116F6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5181"/>
          <a:stretch/>
        </p:blipFill>
        <p:spPr>
          <a:xfrm>
            <a:off x="0" y="-1"/>
            <a:ext cx="9144000" cy="79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81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95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14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34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0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29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36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92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61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46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4402"/>
            </a:avLst>
          </a:prstGeom>
          <a:solidFill>
            <a:schemeClr val="accent6"/>
          </a:solidFill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232000" rIns="0" bIns="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93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70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4626"/>
            </a:avLst>
          </a:prstGeom>
          <a:solidFill>
            <a:schemeClr val="accent6"/>
          </a:solidFill>
          <a:effectLst/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25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23200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652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movie to placeholder or click icon to add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84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96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704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EEE115E-9A03-449B-92F1-3CD40794A0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2057400"/>
            <a:ext cx="3086100" cy="30861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>
              <a:lnSpc>
                <a:spcPct val="10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14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into placeholder</a:t>
            </a:r>
            <a:endParaRPr lang="en-US" noProof="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65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rgbClr val="53565A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52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osing lin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at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C1E151E-40BD-4BA6-BA47-B4CC88EEA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65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15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42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43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9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31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  <a:br>
              <a:rPr lang="en-US" dirty="0"/>
            </a:br>
            <a:r>
              <a:rPr lang="en-US" dirty="0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60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image" Target="../media/image4.svg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55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2" r:id="rId2"/>
    <p:sldLayoutId id="2147483803" r:id="rId3"/>
    <p:sldLayoutId id="2147483660" r:id="rId4"/>
    <p:sldLayoutId id="2147483802" r:id="rId5"/>
    <p:sldLayoutId id="2147483804" r:id="rId6"/>
    <p:sldLayoutId id="2147483701" r:id="rId7"/>
    <p:sldLayoutId id="2147483734" r:id="rId8"/>
    <p:sldLayoutId id="2147483650" r:id="rId9"/>
    <p:sldLayoutId id="2147483735" r:id="rId10"/>
    <p:sldLayoutId id="2147483708" r:id="rId11"/>
    <p:sldLayoutId id="2147483662" r:id="rId12"/>
    <p:sldLayoutId id="2147483703" r:id="rId13"/>
    <p:sldLayoutId id="2147483696" r:id="rId14"/>
    <p:sldLayoutId id="2147483663" r:id="rId15"/>
    <p:sldLayoutId id="2147483698" r:id="rId16"/>
    <p:sldLayoutId id="2147483699" r:id="rId17"/>
    <p:sldLayoutId id="2147483737" r:id="rId18"/>
    <p:sldLayoutId id="2147483666" r:id="rId19"/>
    <p:sldLayoutId id="2147483736" r:id="rId20"/>
    <p:sldLayoutId id="2147483738" r:id="rId21"/>
    <p:sldLayoutId id="2147483767" r:id="rId22"/>
    <p:sldLayoutId id="2147483669" r:id="rId23"/>
    <p:sldLayoutId id="2147483665" r:id="rId24"/>
    <p:sldLayoutId id="2147483664" r:id="rId25"/>
    <p:sldLayoutId id="2147483709" r:id="rId26"/>
    <p:sldLayoutId id="214748367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8D5161C8-EE77-4377-B6B1-7E9C29CB9F0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8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88" r:id="rId2"/>
    <p:sldLayoutId id="2147483792" r:id="rId3"/>
    <p:sldLayoutId id="2147483790" r:id="rId4"/>
    <p:sldLayoutId id="214748379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2B5B76-D48B-486B-B148-17C02F22EB4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5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801" r:id="rId16"/>
    <p:sldLayoutId id="2147483762" r:id="rId17"/>
    <p:sldLayoutId id="2147483763" r:id="rId18"/>
    <p:sldLayoutId id="2147483764" r:id="rId19"/>
    <p:sldLayoutId id="2147483765" r:id="rId20"/>
    <p:sldLayoutId id="2147483766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2B01DC-AA4B-4B09-A9C1-2490348EB4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72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4" Type="http://schemas.openxmlformats.org/officeDocument/2006/relationships/hyperlink" Target="https://arxiv.org/abs/1910.10683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www.youtube.com/watch?v=3lnJkdQ8nhQ" TargetMode="Externa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microsoft.github.io/msmarco/" TargetMode="External"/><Relationship Id="rId2" Type="http://schemas.openxmlformats.org/officeDocument/2006/relationships/hyperlink" Target="https://rajpurkar.github.io/SQuAD-explorer/" TargetMode="Externa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github.com/abachaa/MedQuAD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15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huggingface.co/spaces/dalle-mini/dalle-mini" TargetMode="Externa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arxiv.org/abs/1902.01718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lilianweng.github.io/posts/2020-10-29-odqa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8.png"/><Relationship Id="rId4" Type="http://schemas.openxmlformats.org/officeDocument/2006/relationships/hyperlink" Target="https://arxiv.org/abs/1904.08375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FD8347-4804-47F1-98FB-1E11456E58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263" y="4128593"/>
            <a:ext cx="5112709" cy="682727"/>
          </a:xfrm>
        </p:spPr>
        <p:txBody>
          <a:bodyPr>
            <a:normAutofit/>
          </a:bodyPr>
          <a:lstStyle/>
          <a:p>
            <a:r>
              <a:rPr lang="en-US" dirty="0"/>
              <a:t>April 26, 2023</a:t>
            </a:r>
          </a:p>
          <a:p>
            <a:r>
              <a:rPr lang="en-US" dirty="0"/>
              <a:t>Sujit Pal, Elsevier Health Markets</a:t>
            </a:r>
          </a:p>
          <a:p>
            <a:r>
              <a:rPr lang="en-US" dirty="0"/>
              <a:t>ORCID: </a:t>
            </a:r>
            <a:r>
              <a:rPr lang="en-US" u="sng" dirty="0">
                <a:solidFill>
                  <a:schemeClr val="accent1">
                    <a:lumMod val="75000"/>
                  </a:schemeClr>
                </a:solidFill>
              </a:rPr>
              <a:t>https://</a:t>
            </a:r>
            <a:r>
              <a:rPr lang="en-US" u="sng" dirty="0" err="1">
                <a:solidFill>
                  <a:schemeClr val="accent1">
                    <a:lumMod val="75000"/>
                  </a:schemeClr>
                </a:solidFill>
              </a:rPr>
              <a:t>orcid.org</a:t>
            </a:r>
            <a:r>
              <a:rPr lang="en-US" u="sng" dirty="0">
                <a:solidFill>
                  <a:schemeClr val="accent1">
                    <a:lumMod val="75000"/>
                  </a:schemeClr>
                </a:solidFill>
              </a:rPr>
              <a:t>/0000-0002-6225-110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46164F-14D7-4C97-AFFF-0E08E03824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1659468"/>
            <a:ext cx="5112709" cy="1215708"/>
          </a:xfrm>
        </p:spPr>
        <p:txBody>
          <a:bodyPr/>
          <a:lstStyle/>
          <a:p>
            <a:r>
              <a:rPr lang="en-US" dirty="0"/>
              <a:t>A Cheap Trick for Question Answer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A9378B2-982B-4C37-BEC6-9E22292106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263" y="2875176"/>
            <a:ext cx="5112709" cy="490001"/>
          </a:xfrm>
        </p:spPr>
        <p:txBody>
          <a:bodyPr/>
          <a:lstStyle/>
          <a:p>
            <a:r>
              <a:rPr lang="en-US" dirty="0"/>
              <a:t>for the Vector Search / GPU challeng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43E2E1-D8D0-428F-9CE1-98FD10199A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887D6F2-32B0-690A-373E-69E9B67AAA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517" y="369888"/>
            <a:ext cx="2268220" cy="368300"/>
          </a:xfrm>
          <a:prstGeom prst="rect">
            <a:avLst/>
          </a:prstGeom>
          <a:solidFill>
            <a:schemeClr val="accent4">
              <a:lumMod val="25000"/>
            </a:schemeClr>
          </a:solidFill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AD0ECC-0EFE-7C61-A92D-B4E928EFDB8D}"/>
              </a:ext>
            </a:extLst>
          </p:cNvPr>
          <p:cNvSpPr txBox="1"/>
          <p:nvPr/>
        </p:nvSpPr>
        <p:spPr>
          <a:xfrm>
            <a:off x="6299517" y="748647"/>
            <a:ext cx="2268220" cy="253916"/>
          </a:xfrm>
          <a:prstGeom prst="rect">
            <a:avLst/>
          </a:prstGeom>
          <a:solidFill>
            <a:schemeClr val="accent4">
              <a:lumMod val="2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1050" b="1" dirty="0">
                <a:solidFill>
                  <a:schemeClr val="bg1"/>
                </a:solidFill>
              </a:rPr>
              <a:t>United States, 2023</a:t>
            </a:r>
          </a:p>
        </p:txBody>
      </p:sp>
    </p:spTree>
    <p:extLst>
      <p:ext uri="{BB962C8B-B14F-4D97-AF65-F5344CB8AC3E}">
        <p14:creationId xmlns:p14="http://schemas.microsoft.com/office/powerpoint/2010/main" val="63758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F9D98065-DF7B-49AD-8ADA-67533AC88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/>
          <a:lstStyle/>
          <a:p>
            <a:r>
              <a:rPr lang="en-US" dirty="0"/>
              <a:t>docT5query flow contrasted with retriever-reader fl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59EC4C-18A6-59DB-D7A9-22B6EFBAF36B}"/>
              </a:ext>
            </a:extLst>
          </p:cNvPr>
          <p:cNvSpPr txBox="1"/>
          <p:nvPr/>
        </p:nvSpPr>
        <p:spPr>
          <a:xfrm>
            <a:off x="576263" y="857839"/>
            <a:ext cx="58657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or a query </a:t>
            </a:r>
            <a:r>
              <a:rPr lang="en-US" i="1" dirty="0"/>
              <a:t>q’</a:t>
            </a:r>
            <a:r>
              <a:rPr lang="en-US" dirty="0"/>
              <a:t> and a set of passage question pairs </a:t>
            </a:r>
            <a:r>
              <a:rPr lang="en-US" i="1" dirty="0"/>
              <a:t>(p, q)</a:t>
            </a:r>
          </a:p>
        </p:txBody>
      </p:sp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743F003C-BF70-FAF1-6E86-394EC36C35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068637"/>
              </p:ext>
            </p:extLst>
          </p:nvPr>
        </p:nvGraphicFramePr>
        <p:xfrm>
          <a:off x="576262" y="1384922"/>
          <a:ext cx="7983275" cy="25628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986311">
                  <a:extLst>
                    <a:ext uri="{9D8B030D-6E8A-4147-A177-3AD203B41FA5}">
                      <a16:colId xmlns:a16="http://schemas.microsoft.com/office/drawing/2014/main" val="1197752947"/>
                    </a:ext>
                  </a:extLst>
                </a:gridCol>
                <a:gridCol w="3996964">
                  <a:extLst>
                    <a:ext uri="{9D8B030D-6E8A-4147-A177-3AD203B41FA5}">
                      <a16:colId xmlns:a16="http://schemas.microsoft.com/office/drawing/2014/main" val="35000343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Retriever + Read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Doc2query or docT5quer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4405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Questions </a:t>
                      </a:r>
                      <a:r>
                        <a:rPr lang="en-US" b="1" i="1" dirty="0"/>
                        <a:t>q</a:t>
                      </a:r>
                      <a:r>
                        <a:rPr lang="en-US" dirty="0"/>
                        <a:t> generated from each passage </a:t>
                      </a:r>
                      <a:r>
                        <a:rPr lang="en-US" b="1" i="1" dirty="0"/>
                        <a:t>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F2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6843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Write out </a:t>
                      </a:r>
                      <a:r>
                        <a:rPr lang="en-US" b="1" i="1" dirty="0"/>
                        <a:t>(p, q)</a:t>
                      </a:r>
                      <a:r>
                        <a:rPr lang="en-US" dirty="0"/>
                        <a:t> to index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F2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006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Query </a:t>
                      </a:r>
                      <a:r>
                        <a:rPr lang="en-US" b="1" i="1" dirty="0"/>
                        <a:t>q’</a:t>
                      </a:r>
                      <a:r>
                        <a:rPr lang="en-US" dirty="0"/>
                        <a:t> sent to retriev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Query </a:t>
                      </a:r>
                      <a:r>
                        <a:rPr lang="en-US" b="1" i="1" dirty="0"/>
                        <a:t>q’</a:t>
                      </a:r>
                      <a:r>
                        <a:rPr lang="en-US" dirty="0"/>
                        <a:t> sent to retriev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1370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Retriever matches </a:t>
                      </a:r>
                      <a:r>
                        <a:rPr lang="en-US" b="1" i="1" dirty="0"/>
                        <a:t>q’</a:t>
                      </a:r>
                      <a:r>
                        <a:rPr lang="en-US" dirty="0"/>
                        <a:t> with passages </a:t>
                      </a:r>
                      <a:r>
                        <a:rPr lang="en-US" b="1" i="1" dirty="0"/>
                        <a:t>p</a:t>
                      </a:r>
                      <a:r>
                        <a:rPr lang="en-US" dirty="0"/>
                        <a:t> and returns top-N candidate passages </a:t>
                      </a:r>
                      <a:r>
                        <a:rPr lang="en-US" b="1" i="1" dirty="0"/>
                        <a:t>p’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7B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Retriever matches </a:t>
                      </a:r>
                      <a:r>
                        <a:rPr lang="en-US" b="1" i="1" dirty="0"/>
                        <a:t>q’</a:t>
                      </a:r>
                      <a:r>
                        <a:rPr lang="en-US" dirty="0"/>
                        <a:t> with generated questions </a:t>
                      </a:r>
                      <a:r>
                        <a:rPr lang="en-US" b="1" i="1" dirty="0"/>
                        <a:t>q</a:t>
                      </a:r>
                      <a:r>
                        <a:rPr lang="en-US" dirty="0"/>
                        <a:t> and returns associated passage </a:t>
                      </a:r>
                      <a:r>
                        <a:rPr lang="en-US" b="1" i="1" dirty="0"/>
                        <a:t>p’</a:t>
                      </a:r>
                      <a:r>
                        <a:rPr lang="en-US" dirty="0"/>
                        <a:t> for top-N match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7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1823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Reader extracts answer </a:t>
                      </a:r>
                      <a:r>
                        <a:rPr lang="en-US" b="1" i="1" dirty="0"/>
                        <a:t>a’</a:t>
                      </a:r>
                      <a:r>
                        <a:rPr lang="en-US" dirty="0"/>
                        <a:t> from passages </a:t>
                      </a:r>
                      <a:r>
                        <a:rPr lang="en-US" b="1" i="1" dirty="0"/>
                        <a:t>p’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Reader extracts answer </a:t>
                      </a:r>
                      <a:r>
                        <a:rPr lang="en-US" b="1" i="1" dirty="0"/>
                        <a:t>a’</a:t>
                      </a:r>
                      <a:r>
                        <a:rPr lang="en-US" dirty="0"/>
                        <a:t> from passage </a:t>
                      </a:r>
                      <a:r>
                        <a:rPr lang="en-US" b="1" i="1" dirty="0"/>
                        <a:t>p’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22256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238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F9D98065-DF7B-49AD-8ADA-67533AC88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/>
          <a:lstStyle/>
          <a:p>
            <a:r>
              <a:rPr lang="en-US" dirty="0"/>
              <a:t>Other benefits of docT5query style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9BE4A002-B017-1760-3CF1-5542D6D402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2703" cy="3812389"/>
          </a:xfrm>
        </p:spPr>
        <p:txBody>
          <a:bodyPr>
            <a:normAutofit/>
          </a:bodyPr>
          <a:lstStyle/>
          <a:p>
            <a:r>
              <a:rPr lang="en-US" sz="1600" dirty="0"/>
              <a:t>Ability to re-use existing search infrastructure</a:t>
            </a:r>
          </a:p>
          <a:p>
            <a:r>
              <a:rPr lang="en-US" sz="1600" dirty="0"/>
              <a:t>Low latency </a:t>
            </a:r>
            <a:r>
              <a:rPr lang="en-US" sz="1600" dirty="0">
                <a:sym typeface="Wingdings" pitchFamily="2" charset="2"/>
              </a:rPr>
              <a:t> minimal to no changes to query SLA</a:t>
            </a:r>
          </a:p>
          <a:p>
            <a:r>
              <a:rPr lang="en-US" sz="1600" dirty="0">
                <a:sym typeface="Wingdings" pitchFamily="2" charset="2"/>
              </a:rPr>
              <a:t>No need to build query-document labeled pairs for retriever / re-ranker models</a:t>
            </a:r>
          </a:p>
          <a:p>
            <a:r>
              <a:rPr lang="en-US" sz="1600" dirty="0"/>
              <a:t>Less chance of irrelevant answers since matching question with question</a:t>
            </a:r>
          </a:p>
          <a:p>
            <a:r>
              <a:rPr lang="en-US" sz="1600" dirty="0"/>
              <a:t>Limited risk of irrelevant (generated) questions, since they will most likely not be asked</a:t>
            </a:r>
          </a:p>
        </p:txBody>
      </p:sp>
    </p:spTree>
    <p:extLst>
      <p:ext uri="{BB962C8B-B14F-4D97-AF65-F5344CB8AC3E}">
        <p14:creationId xmlns:p14="http://schemas.microsoft.com/office/powerpoint/2010/main" val="108826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7A6D565-2A40-43E3-B871-21A2B60D36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2" name="TextBox 1">
            <a:hlinkClick r:id="rId3" action="ppaction://hlinksldjump"/>
            <a:extLst>
              <a:ext uri="{FF2B5EF4-FFF2-40B4-BE49-F238E27FC236}">
                <a16:creationId xmlns:a16="http://schemas.microsoft.com/office/drawing/2014/main" id="{B9F3A8B0-EC41-4BE5-BA02-E8A6CDD135D8}"/>
              </a:ext>
            </a:extLst>
          </p:cNvPr>
          <p:cNvSpPr txBox="1"/>
          <p:nvPr/>
        </p:nvSpPr>
        <p:spPr>
          <a:xfrm>
            <a:off x="3815222" y="4778217"/>
            <a:ext cx="15985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2"/>
                </a:solidFill>
                <a:hlinkClick r:id="rId3" action="ppaction://hlinksldjump"/>
              </a:rPr>
              <a:t>back to table of contents</a:t>
            </a:r>
            <a:endParaRPr lang="en-US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455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F9D98065-DF7B-49AD-8ADA-67533AC88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/>
          <a:lstStyle/>
          <a:p>
            <a:r>
              <a:rPr lang="en-US" dirty="0"/>
              <a:t>Dataset and Model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9BE4A002-B017-1760-3CF1-5542D6D402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2703" cy="3812389"/>
          </a:xfrm>
        </p:spPr>
        <p:txBody>
          <a:bodyPr>
            <a:normAutofit lnSpcReduction="10000"/>
          </a:bodyPr>
          <a:lstStyle/>
          <a:p>
            <a:r>
              <a:rPr lang="en-US" sz="1600" dirty="0"/>
              <a:t>Dataset</a:t>
            </a:r>
          </a:p>
          <a:p>
            <a:pPr lvl="1"/>
            <a:r>
              <a:rPr lang="en-US" sz="1400" dirty="0"/>
              <a:t>80k paragraphs from around 3500 Patient Guidelines</a:t>
            </a:r>
          </a:p>
          <a:p>
            <a:pPr lvl="1"/>
            <a:r>
              <a:rPr lang="en-US" sz="1400" dirty="0"/>
              <a:t>Between 5-10 generated questions from each paragraph</a:t>
            </a:r>
          </a:p>
          <a:p>
            <a:r>
              <a:rPr lang="en-US" sz="1600" dirty="0"/>
              <a:t>Models (Question Generation)</a:t>
            </a:r>
          </a:p>
          <a:p>
            <a:pPr lvl="1"/>
            <a:r>
              <a:rPr lang="en-US" sz="1400" dirty="0"/>
              <a:t>Base model: T5 base model fine-tuned with SQUAD and MS-MARCO</a:t>
            </a:r>
          </a:p>
          <a:p>
            <a:pPr lvl="2"/>
            <a:r>
              <a:rPr lang="en-US" sz="1400" u="sng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halla</a:t>
            </a:r>
            <a:r>
              <a:rPr lang="en-US" sz="1400" u="sng" dirty="0">
                <a:latin typeface="Courier New" panose="02070309020205020404" pitchFamily="49" charset="0"/>
                <a:cs typeface="Courier New" panose="02070309020205020404" pitchFamily="49" charset="0"/>
              </a:rPr>
              <a:t>/t5-base-e2e-qg</a:t>
            </a:r>
            <a:r>
              <a:rPr lang="en-US" sz="1400" dirty="0"/>
              <a:t> fine-tuned on SQUAD (100k passage-question pairs)</a:t>
            </a:r>
          </a:p>
          <a:p>
            <a:pPr lvl="2"/>
            <a:r>
              <a:rPr lang="en-US" sz="1400" u="sng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storini</a:t>
            </a:r>
            <a:r>
              <a:rPr lang="en-US" sz="1400" u="sng" dirty="0">
                <a:latin typeface="Courier New" panose="02070309020205020404" pitchFamily="49" charset="0"/>
                <a:cs typeface="Courier New" panose="02070309020205020404" pitchFamily="49" charset="0"/>
              </a:rPr>
              <a:t>/doc2query-t5-base-msmarco</a:t>
            </a:r>
            <a:r>
              <a:rPr lang="en-US" sz="1400" dirty="0"/>
              <a:t> fine-tuned on MS-MARCO (107k passage-question pairs</a:t>
            </a:r>
          </a:p>
          <a:p>
            <a:pPr lvl="1"/>
            <a:r>
              <a:rPr lang="en-US" sz="1400" dirty="0"/>
              <a:t>Fine tuned with </a:t>
            </a:r>
            <a:r>
              <a:rPr lang="en-US" sz="1400" dirty="0" err="1"/>
              <a:t>MedQUAD</a:t>
            </a:r>
            <a:r>
              <a:rPr lang="en-US" sz="1400" dirty="0"/>
              <a:t> (13k QA pairs) and Patient Guidelines (10k QA pairs)</a:t>
            </a:r>
          </a:p>
          <a:p>
            <a:r>
              <a:rPr lang="en-US" sz="1600" dirty="0"/>
              <a:t>Additional Models</a:t>
            </a:r>
          </a:p>
          <a:p>
            <a:pPr lvl="1"/>
            <a:r>
              <a:rPr lang="en-US" sz="1400" dirty="0"/>
              <a:t>Model (Question Embedding) – </a:t>
            </a:r>
            <a:r>
              <a:rPr lang="en-US" sz="1400" b="0" i="0" u="sng" dirty="0">
                <a:solidFill>
                  <a:srgbClr val="1F2328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ntence-transformers/all-MiniLM-L6-v2</a:t>
            </a:r>
            <a:r>
              <a:rPr lang="en-US" sz="1200" b="0" i="0" u="sng" dirty="0">
                <a:solidFill>
                  <a:srgbClr val="1F2328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 lvl="1"/>
            <a:r>
              <a:rPr lang="en-US" sz="1400" dirty="0"/>
              <a:t>Model (Answer Extraction) – </a:t>
            </a:r>
            <a:r>
              <a:rPr lang="en-US" sz="1400" b="0" i="0" u="sng" dirty="0" err="1">
                <a:solidFill>
                  <a:srgbClr val="1F2328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epset</a:t>
            </a:r>
            <a:r>
              <a:rPr lang="en-US" sz="1400" b="0" i="0" u="sng" dirty="0">
                <a:solidFill>
                  <a:srgbClr val="1F2328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roberta-base-squad2</a:t>
            </a:r>
            <a:r>
              <a:rPr lang="en-US" sz="1200" b="0" i="0" u="sng" dirty="0">
                <a:solidFill>
                  <a:srgbClr val="1F2328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 marL="0" indent="0">
              <a:buNone/>
            </a:pPr>
            <a:endParaRPr lang="en-US" sz="1400" b="0" i="0" u="sng" dirty="0">
              <a:solidFill>
                <a:srgbClr val="1F2328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42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D75DA8-C76A-C265-1BB0-C82FEA5F7F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83935" y="1384234"/>
            <a:ext cx="4309110" cy="2162810"/>
          </a:xfrm>
          <a:prstGeom prst="rect">
            <a:avLst/>
          </a:prstGeom>
          <a:noFill/>
        </p:spPr>
      </p:pic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9BE4A002-B017-1760-3CF1-5542D6D402C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76264" y="954645"/>
            <a:ext cx="3995736" cy="3510732"/>
          </a:xfrm>
        </p:spPr>
        <p:txBody>
          <a:bodyPr>
            <a:noAutofit/>
          </a:bodyPr>
          <a:lstStyle/>
          <a:p>
            <a:pPr marL="0" lvl="1" indent="0">
              <a:lnSpc>
                <a:spcPct val="90000"/>
              </a:lnSpc>
              <a:buNone/>
            </a:pPr>
            <a:r>
              <a:rPr lang="en-US" sz="1400" dirty="0">
                <a:solidFill>
                  <a:schemeClr val="accent2"/>
                </a:solidFill>
              </a:rPr>
              <a:t>Fine-tuned 6 different models</a:t>
            </a:r>
          </a:p>
          <a:p>
            <a:pPr lvl="1">
              <a:lnSpc>
                <a:spcPct val="90000"/>
              </a:lnSpc>
            </a:pPr>
            <a:r>
              <a:rPr lang="en-US" sz="1400" dirty="0"/>
              <a:t>Base models (models 1 and 2) fine-tuned OOB on SQUAD and MS-MARCO</a:t>
            </a:r>
          </a:p>
          <a:p>
            <a:pPr lvl="1">
              <a:lnSpc>
                <a:spcPct val="90000"/>
              </a:lnSpc>
            </a:pPr>
            <a:r>
              <a:rPr lang="en-US" sz="1400" dirty="0"/>
              <a:t>Model 3 is T5-base fine tuned with </a:t>
            </a:r>
            <a:r>
              <a:rPr lang="en-US" sz="1400" dirty="0" err="1"/>
              <a:t>MedQUAD</a:t>
            </a:r>
            <a:r>
              <a:rPr lang="en-US" sz="1400" dirty="0"/>
              <a:t> dataset</a:t>
            </a:r>
          </a:p>
          <a:p>
            <a:pPr lvl="1">
              <a:lnSpc>
                <a:spcPct val="90000"/>
              </a:lnSpc>
            </a:pPr>
            <a:r>
              <a:rPr lang="en-US" sz="1400" dirty="0"/>
              <a:t>Model 4 is T5-base fine tuned with MS-MARCO filtered for medical questions</a:t>
            </a:r>
          </a:p>
          <a:p>
            <a:pPr lvl="1">
              <a:lnSpc>
                <a:spcPct val="90000"/>
              </a:lnSpc>
            </a:pPr>
            <a:r>
              <a:rPr lang="en-US" sz="1400" dirty="0"/>
              <a:t>Model 5 is T5-base fine tuned with Patient Guidelines train split</a:t>
            </a:r>
          </a:p>
          <a:p>
            <a:pPr lvl="1">
              <a:lnSpc>
                <a:spcPct val="90000"/>
              </a:lnSpc>
            </a:pPr>
            <a:r>
              <a:rPr lang="en-US" sz="1400" dirty="0"/>
              <a:t>Model 6 is Model 1 fine tuned with Patient Guidelines train split</a:t>
            </a:r>
          </a:p>
          <a:p>
            <a:pPr marL="0" lvl="1" indent="0">
              <a:lnSpc>
                <a:spcPct val="90000"/>
              </a:lnSpc>
              <a:buNone/>
            </a:pPr>
            <a:r>
              <a:rPr lang="en-US" sz="1400" dirty="0">
                <a:solidFill>
                  <a:schemeClr val="accent2"/>
                </a:solidFill>
              </a:rPr>
              <a:t>Evaluated using BLEU-4, NIST, ROUGE-L</a:t>
            </a:r>
          </a:p>
          <a:p>
            <a:pPr marL="0" indent="0">
              <a:lnSpc>
                <a:spcPct val="90000"/>
              </a:lnSpc>
              <a:buNone/>
            </a:pPr>
            <a:endParaRPr lang="en-US" sz="1400" b="0" i="0" u="sng" dirty="0">
              <a:effectLst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9D98065-DF7B-49AD-8ADA-67533AC88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785312" cy="504825"/>
          </a:xfrm>
        </p:spPr>
        <p:txBody>
          <a:bodyPr anchor="ctr">
            <a:normAutofit/>
          </a:bodyPr>
          <a:lstStyle/>
          <a:p>
            <a:r>
              <a:rPr lang="en-US" dirty="0"/>
              <a:t>Overview of approach (Fine tuning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C84D4B0-D259-E806-82B1-E1BA95C671BD}"/>
              </a:ext>
            </a:extLst>
          </p:cNvPr>
          <p:cNvSpPr txBox="1"/>
          <p:nvPr/>
        </p:nvSpPr>
        <p:spPr>
          <a:xfrm>
            <a:off x="1912458" y="4685122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dirty="0"/>
              <a:t>Image Credit: </a:t>
            </a:r>
            <a:r>
              <a:rPr lang="en-US" sz="800" i="1" dirty="0">
                <a:hlinkClick r:id="rId4"/>
              </a:rPr>
              <a:t>Exploring the limits of Transfer Learning with a Unified Text-to-text Transformer</a:t>
            </a:r>
            <a:r>
              <a:rPr lang="en-US" sz="800" i="1" dirty="0"/>
              <a:t> (</a:t>
            </a:r>
            <a:r>
              <a:rPr lang="en-US" sz="800" i="1" dirty="0" err="1"/>
              <a:t>Raffel</a:t>
            </a:r>
            <a:r>
              <a:rPr lang="en-US" sz="800" i="1" dirty="0"/>
              <a:t> et al, 2020)</a:t>
            </a:r>
          </a:p>
        </p:txBody>
      </p:sp>
    </p:spTree>
    <p:extLst>
      <p:ext uri="{BB962C8B-B14F-4D97-AF65-F5344CB8AC3E}">
        <p14:creationId xmlns:p14="http://schemas.microsoft.com/office/powerpoint/2010/main" val="369413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6B966D9-8300-3A37-158F-0C1E1C6806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335" y="925529"/>
            <a:ext cx="5062402" cy="3341184"/>
          </a:xfrm>
          <a:prstGeom prst="rect">
            <a:avLst/>
          </a:prstGeom>
          <a:noFill/>
        </p:spPr>
      </p:pic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9BE4A002-B017-1760-3CF1-5542D6D402C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76264" y="835025"/>
            <a:ext cx="2641070" cy="3897313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accent2"/>
                </a:solidFill>
              </a:rPr>
              <a:t>Three search flows (using Haystack from </a:t>
            </a:r>
            <a:r>
              <a:rPr lang="en-US" sz="1200" dirty="0" err="1">
                <a:solidFill>
                  <a:schemeClr val="accent2"/>
                </a:solidFill>
              </a:rPr>
              <a:t>deepset</a:t>
            </a:r>
            <a:r>
              <a:rPr lang="en-US" sz="1200" dirty="0">
                <a:solidFill>
                  <a:schemeClr val="accent2"/>
                </a:solidFill>
              </a:rPr>
              <a:t>)</a:t>
            </a:r>
          </a:p>
          <a:p>
            <a:pPr lvl="1">
              <a:lnSpc>
                <a:spcPct val="90000"/>
              </a:lnSpc>
            </a:pPr>
            <a:r>
              <a:rPr lang="en-US" sz="1200" dirty="0"/>
              <a:t>Compare question to passage using BM25 (baseline)</a:t>
            </a:r>
          </a:p>
          <a:p>
            <a:pPr lvl="1">
              <a:lnSpc>
                <a:spcPct val="90000"/>
              </a:lnSpc>
            </a:pPr>
            <a:r>
              <a:rPr lang="en-US" sz="1200" dirty="0"/>
              <a:t>Compare question to generated questions using BM25</a:t>
            </a:r>
          </a:p>
          <a:p>
            <a:pPr lvl="1">
              <a:lnSpc>
                <a:spcPct val="90000"/>
              </a:lnSpc>
            </a:pPr>
            <a:r>
              <a:rPr lang="en-US" sz="1200" dirty="0"/>
              <a:t>Compare question embedding to generated question embeddings using ANN</a:t>
            </a:r>
          </a:p>
          <a:p>
            <a:pPr>
              <a:lnSpc>
                <a:spcPct val="90000"/>
              </a:lnSpc>
            </a:pPr>
            <a:endParaRPr lang="en-US" sz="12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accent2"/>
                </a:solidFill>
              </a:rPr>
              <a:t>Compute MRR @1 and @10 manually for 20 randomly generated questions from corpus</a:t>
            </a:r>
          </a:p>
          <a:p>
            <a:pPr lvl="1">
              <a:lnSpc>
                <a:spcPct val="90000"/>
              </a:lnSpc>
            </a:pPr>
            <a:r>
              <a:rPr lang="en-US" sz="1200" dirty="0"/>
              <a:t>MRR @1 for our application (only top answer will get shown)</a:t>
            </a:r>
          </a:p>
          <a:p>
            <a:pPr lvl="1">
              <a:lnSpc>
                <a:spcPct val="90000"/>
              </a:lnSpc>
            </a:pPr>
            <a:r>
              <a:rPr lang="en-US" sz="1200" dirty="0"/>
              <a:t>MRR @10 for sanity checking with published numbers</a:t>
            </a:r>
          </a:p>
          <a:p>
            <a:pPr>
              <a:lnSpc>
                <a:spcPct val="90000"/>
              </a:lnSpc>
            </a:pPr>
            <a:endParaRPr lang="en-US" sz="1200" b="1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200" b="1" dirty="0">
                <a:solidFill>
                  <a:schemeClr val="accent2"/>
                </a:solidFill>
              </a:rPr>
              <a:t>DISCLAIMER:</a:t>
            </a:r>
            <a:r>
              <a:rPr lang="en-US" sz="1200" dirty="0">
                <a:solidFill>
                  <a:schemeClr val="accent2"/>
                </a:solidFill>
              </a:rPr>
              <a:t> Manual evaluation done by yours truly, so chances of bias!</a:t>
            </a:r>
          </a:p>
          <a:p>
            <a:pPr marL="0" indent="0">
              <a:lnSpc>
                <a:spcPct val="90000"/>
              </a:lnSpc>
              <a:buNone/>
            </a:pPr>
            <a:endParaRPr lang="en-US" sz="1200" b="0" i="0" u="sng" dirty="0">
              <a:effectLst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9D98065-DF7B-49AD-8ADA-67533AC88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US" dirty="0"/>
              <a:t>Overview of Approach (Search)</a:t>
            </a:r>
          </a:p>
        </p:txBody>
      </p:sp>
    </p:spTree>
    <p:extLst>
      <p:ext uri="{BB962C8B-B14F-4D97-AF65-F5344CB8AC3E}">
        <p14:creationId xmlns:p14="http://schemas.microsoft.com/office/powerpoint/2010/main" val="197707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7A6D565-2A40-43E3-B871-21A2B60D36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emo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hlinkClick r:id="rId3" action="ppaction://hlinksldjump"/>
            <a:extLst>
              <a:ext uri="{FF2B5EF4-FFF2-40B4-BE49-F238E27FC236}">
                <a16:creationId xmlns:a16="http://schemas.microsoft.com/office/drawing/2014/main" id="{B9F3A8B0-EC41-4BE5-BA02-E8A6CDD135D8}"/>
              </a:ext>
            </a:extLst>
          </p:cNvPr>
          <p:cNvSpPr txBox="1"/>
          <p:nvPr/>
        </p:nvSpPr>
        <p:spPr>
          <a:xfrm>
            <a:off x="3815222" y="4778217"/>
            <a:ext cx="15985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2"/>
                </a:solidFill>
                <a:hlinkClick r:id="rId3" action="ppaction://hlinksldjump"/>
              </a:rPr>
              <a:t>back to table of contents</a:t>
            </a:r>
            <a:endParaRPr lang="en-US" sz="1000" dirty="0">
              <a:solidFill>
                <a:schemeClr val="accent2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F899E3-6AFA-F954-652A-976DBF6A78EF}"/>
              </a:ext>
            </a:extLst>
          </p:cNvPr>
          <p:cNvGrpSpPr/>
          <p:nvPr/>
        </p:nvGrpSpPr>
        <p:grpSpPr>
          <a:xfrm>
            <a:off x="1613430" y="1847850"/>
            <a:ext cx="6002098" cy="781050"/>
            <a:chOff x="1723351" y="1429878"/>
            <a:chExt cx="6002098" cy="781050"/>
          </a:xfrm>
        </p:grpSpPr>
        <p:pic>
          <p:nvPicPr>
            <p:cNvPr id="4" name="Picture 2" descr="Image result for youtube icon">
              <a:extLst>
                <a:ext uri="{FF2B5EF4-FFF2-40B4-BE49-F238E27FC236}">
                  <a16:creationId xmlns:a16="http://schemas.microsoft.com/office/drawing/2014/main" id="{16D7F2A4-B819-D29A-EAA0-7990933023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3351" y="1429878"/>
              <a:ext cx="781050" cy="781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B7A5C6D-4D69-3050-7B21-907C3A35F908}"/>
                </a:ext>
              </a:extLst>
            </p:cNvPr>
            <p:cNvSpPr txBox="1"/>
            <p:nvPr/>
          </p:nvSpPr>
          <p:spPr>
            <a:xfrm>
              <a:off x="2520113" y="1628303"/>
              <a:ext cx="52053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hlinkClick r:id="rId5"/>
                </a:rPr>
                <a:t>https://</a:t>
              </a:r>
              <a:r>
                <a:rPr lang="en-US" dirty="0" err="1">
                  <a:hlinkClick r:id="rId5"/>
                </a:rPr>
                <a:t>www.youtube.com</a:t>
              </a:r>
              <a:r>
                <a:rPr lang="en-US" dirty="0">
                  <a:hlinkClick r:id="rId5"/>
                </a:rPr>
                <a:t>/</a:t>
              </a:r>
              <a:r>
                <a:rPr lang="en-US" dirty="0" err="1">
                  <a:hlinkClick r:id="rId5"/>
                </a:rPr>
                <a:t>watch?v</a:t>
              </a:r>
              <a:r>
                <a:rPr lang="en-US" dirty="0">
                  <a:hlinkClick r:id="rId5"/>
                </a:rPr>
                <a:t>=3lnJkdQ8nhQ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32913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7A6D565-2A40-43E3-B871-21A2B60D36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2" name="TextBox 1">
            <a:hlinkClick r:id="rId3" action="ppaction://hlinksldjump"/>
            <a:extLst>
              <a:ext uri="{FF2B5EF4-FFF2-40B4-BE49-F238E27FC236}">
                <a16:creationId xmlns:a16="http://schemas.microsoft.com/office/drawing/2014/main" id="{B9F3A8B0-EC41-4BE5-BA02-E8A6CDD135D8}"/>
              </a:ext>
            </a:extLst>
          </p:cNvPr>
          <p:cNvSpPr txBox="1"/>
          <p:nvPr/>
        </p:nvSpPr>
        <p:spPr>
          <a:xfrm>
            <a:off x="3815222" y="4778217"/>
            <a:ext cx="15985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2"/>
                </a:solidFill>
                <a:hlinkClick r:id="rId3" action="ppaction://hlinksldjump"/>
              </a:rPr>
              <a:t>back to table of contents</a:t>
            </a:r>
            <a:endParaRPr lang="en-US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06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8EE5471-B9A4-517E-D41B-1AFDFCA3F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 of Question Generation Models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6B0095B8-42D2-A558-E062-7323E3227C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9366500"/>
              </p:ext>
            </p:extLst>
          </p:nvPr>
        </p:nvGraphicFramePr>
        <p:xfrm>
          <a:off x="656267" y="831801"/>
          <a:ext cx="7831466" cy="39260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83911">
                  <a:extLst>
                    <a:ext uri="{9D8B030D-6E8A-4147-A177-3AD203B41FA5}">
                      <a16:colId xmlns:a16="http://schemas.microsoft.com/office/drawing/2014/main" val="2255714291"/>
                    </a:ext>
                  </a:extLst>
                </a:gridCol>
                <a:gridCol w="744717">
                  <a:extLst>
                    <a:ext uri="{9D8B030D-6E8A-4147-A177-3AD203B41FA5}">
                      <a16:colId xmlns:a16="http://schemas.microsoft.com/office/drawing/2014/main" val="1930292474"/>
                    </a:ext>
                  </a:extLst>
                </a:gridCol>
                <a:gridCol w="2187019">
                  <a:extLst>
                    <a:ext uri="{9D8B030D-6E8A-4147-A177-3AD203B41FA5}">
                      <a16:colId xmlns:a16="http://schemas.microsoft.com/office/drawing/2014/main" val="1848155126"/>
                    </a:ext>
                  </a:extLst>
                </a:gridCol>
                <a:gridCol w="1894788">
                  <a:extLst>
                    <a:ext uri="{9D8B030D-6E8A-4147-A177-3AD203B41FA5}">
                      <a16:colId xmlns:a16="http://schemas.microsoft.com/office/drawing/2014/main" val="3637514130"/>
                    </a:ext>
                  </a:extLst>
                </a:gridCol>
                <a:gridCol w="716437">
                  <a:extLst>
                    <a:ext uri="{9D8B030D-6E8A-4147-A177-3AD203B41FA5}">
                      <a16:colId xmlns:a16="http://schemas.microsoft.com/office/drawing/2014/main" val="3675259471"/>
                    </a:ext>
                  </a:extLst>
                </a:gridCol>
                <a:gridCol w="622169">
                  <a:extLst>
                    <a:ext uri="{9D8B030D-6E8A-4147-A177-3AD203B41FA5}">
                      <a16:colId xmlns:a16="http://schemas.microsoft.com/office/drawing/2014/main" val="1359092861"/>
                    </a:ext>
                  </a:extLst>
                </a:gridCol>
                <a:gridCol w="782425">
                  <a:extLst>
                    <a:ext uri="{9D8B030D-6E8A-4147-A177-3AD203B41FA5}">
                      <a16:colId xmlns:a16="http://schemas.microsoft.com/office/drawing/2014/main" val="4201422148"/>
                    </a:ext>
                  </a:extLst>
                </a:gridCol>
              </a:tblGrid>
              <a:tr h="353886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odel alias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Base model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Dataset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Processing dataset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Evaluatio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5645478"/>
                  </a:ext>
                </a:extLst>
              </a:tr>
              <a:tr h="3414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BLEU-4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NIST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ROUGE-L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763958"/>
                  </a:ext>
                </a:extLst>
              </a:tr>
              <a:tr h="452487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Model 1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t5-bas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  <a:hlinkClick r:id="rId2" tooltip="https://rajpurkar.github.io/SQuAD-explorer/"/>
                        </a:rPr>
                        <a:t>SQUAD dataset</a:t>
                      </a:r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 (100k (passage, question, answer) triples)</a:t>
                      </a:r>
                      <a:endParaRPr lang="en-US" sz="10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dirty="0">
                          <a:effectLst/>
                        </a:rPr>
                        <a:t>0.0206</a:t>
                      </a:r>
                      <a:endParaRPr lang="en-US" sz="1000" b="0" dirty="0">
                        <a:effectLst/>
                      </a:endParaRP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>
                          <a:effectLst/>
                        </a:rPr>
                        <a:t>0.1841</a:t>
                      </a:r>
                      <a:endParaRPr lang="en-US" sz="1000" b="0">
                        <a:effectLst/>
                      </a:endParaRP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dirty="0">
                          <a:effectLst/>
                        </a:rPr>
                        <a:t>0.2002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156656133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Model 2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t5-bas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  <a:hlinkClick r:id="rId3" tooltip="https://microsoft.github.io/msmarco/"/>
                        </a:rPr>
                        <a:t>MS-MARCO dataset</a:t>
                      </a:r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 (100k (passage, long query) pairs from Bing)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kern="1200" dirty="0">
                          <a:solidFill>
                            <a:schemeClr val="dk1"/>
                          </a:solidFill>
                          <a:effectLst/>
                        </a:rPr>
                        <a:t>0.0165</a:t>
                      </a:r>
                      <a:endParaRPr lang="en-US" sz="10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kern="1200" dirty="0">
                          <a:solidFill>
                            <a:schemeClr val="dk1"/>
                          </a:solidFill>
                          <a:effectLst/>
                        </a:rPr>
                        <a:t>0.1042</a:t>
                      </a:r>
                      <a:endParaRPr lang="en-US" sz="10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kern="1200" dirty="0">
                          <a:solidFill>
                            <a:schemeClr val="dk1"/>
                          </a:solidFill>
                          <a:effectLst/>
                        </a:rPr>
                        <a:t>0.2019</a:t>
                      </a:r>
                      <a:endParaRPr lang="en-US" sz="10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3528319805"/>
                  </a:ext>
                </a:extLst>
              </a:tr>
              <a:tr h="480295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Model 3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t5-bas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hlinkClick r:id="rId4"/>
                        </a:rPr>
                        <a:t>MedQuAD dataset</a:t>
                      </a:r>
                      <a:r>
                        <a:rPr lang="en-US" sz="1000" dirty="0"/>
                        <a:t> (</a:t>
                      </a:r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3k (question, answer) pairs)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dirty="0">
                          <a:effectLst/>
                        </a:rPr>
                        <a:t>0.0040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dirty="0">
                          <a:effectLst/>
                        </a:rPr>
                        <a:t>0.0306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dirty="0">
                          <a:effectLst/>
                        </a:rPr>
                        <a:t>0.2133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2737064950"/>
                  </a:ext>
                </a:extLst>
              </a:tr>
              <a:tr h="612743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Model 4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t5-bas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  <a:hlinkClick r:id="rId3" tooltip="https://microsoft.github.io/msmarco/"/>
                        </a:rPr>
                        <a:t>MS-MARCO dataset</a:t>
                      </a:r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 (100k (passage, long query) pairs from Bing)</a:t>
                      </a:r>
                      <a:endParaRPr lang="en-US" sz="1000" dirty="0"/>
                    </a:p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Filter questions and passages using knowledge miner to include medical content on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dirty="0">
                          <a:effectLst/>
                        </a:rPr>
                        <a:t>0.0140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>
                          <a:effectLst/>
                        </a:rPr>
                        <a:t>0.0756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dirty="0">
                          <a:effectLst/>
                        </a:rPr>
                        <a:t>0.1998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3461064031"/>
                  </a:ext>
                </a:extLst>
              </a:tr>
              <a:tr h="499620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Model 5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t5-bas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Patient Guidelines(</a:t>
                      </a:r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6k (passage, question) pairs)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No finetuning. Filter using knowledge mi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dirty="0">
                          <a:effectLst/>
                        </a:rPr>
                        <a:t>0.0138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dirty="0">
                          <a:effectLst/>
                        </a:rPr>
                        <a:t>0.1229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dirty="0">
                          <a:effectLst/>
                        </a:rPr>
                        <a:t>0.1889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3488603143"/>
                  </a:ext>
                </a:extLst>
              </a:tr>
              <a:tr h="518475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Model 6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Model 1</a:t>
                      </a:r>
                      <a:endParaRPr lang="en-US" sz="1000" dirty="0"/>
                    </a:p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Patient Guidelines(</a:t>
                      </a:r>
                      <a:r>
                        <a:rPr lang="en-US" sz="10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6k (passage, question) pairs)</a:t>
                      </a:r>
                      <a:endParaRPr lang="en-US" sz="1000" dirty="0"/>
                    </a:p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Finetuned. Filter using knowledge mi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dirty="0">
                          <a:effectLst/>
                        </a:rPr>
                        <a:t>0.0141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dirty="0">
                          <a:effectLst/>
                        </a:rPr>
                        <a:t>0.1226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dirty="0">
                          <a:effectLst/>
                        </a:rPr>
                        <a:t>0.1874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28531859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095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8EE5471-B9A4-517E-D41B-1AFDFCA3F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 of Question Answering Pipelines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B9DA2A8C-F5BA-8FFB-C0C3-FB313D0440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6926092"/>
              </p:ext>
            </p:extLst>
          </p:nvPr>
        </p:nvGraphicFramePr>
        <p:xfrm>
          <a:off x="1265478" y="1075539"/>
          <a:ext cx="6701230" cy="28930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16867">
                  <a:extLst>
                    <a:ext uri="{9D8B030D-6E8A-4147-A177-3AD203B41FA5}">
                      <a16:colId xmlns:a16="http://schemas.microsoft.com/office/drawing/2014/main" val="3694403724"/>
                    </a:ext>
                  </a:extLst>
                </a:gridCol>
                <a:gridCol w="886119">
                  <a:extLst>
                    <a:ext uri="{9D8B030D-6E8A-4147-A177-3AD203B41FA5}">
                      <a16:colId xmlns:a16="http://schemas.microsoft.com/office/drawing/2014/main" val="3928535838"/>
                    </a:ext>
                  </a:extLst>
                </a:gridCol>
                <a:gridCol w="1008669">
                  <a:extLst>
                    <a:ext uri="{9D8B030D-6E8A-4147-A177-3AD203B41FA5}">
                      <a16:colId xmlns:a16="http://schemas.microsoft.com/office/drawing/2014/main" val="2300614310"/>
                    </a:ext>
                  </a:extLst>
                </a:gridCol>
                <a:gridCol w="886119">
                  <a:extLst>
                    <a:ext uri="{9D8B030D-6E8A-4147-A177-3AD203B41FA5}">
                      <a16:colId xmlns:a16="http://schemas.microsoft.com/office/drawing/2014/main" val="1386037443"/>
                    </a:ext>
                  </a:extLst>
                </a:gridCol>
                <a:gridCol w="1027522">
                  <a:extLst>
                    <a:ext uri="{9D8B030D-6E8A-4147-A177-3AD203B41FA5}">
                      <a16:colId xmlns:a16="http://schemas.microsoft.com/office/drawing/2014/main" val="3228805721"/>
                    </a:ext>
                  </a:extLst>
                </a:gridCol>
                <a:gridCol w="895546">
                  <a:extLst>
                    <a:ext uri="{9D8B030D-6E8A-4147-A177-3AD203B41FA5}">
                      <a16:colId xmlns:a16="http://schemas.microsoft.com/office/drawing/2014/main" val="3532164916"/>
                    </a:ext>
                  </a:extLst>
                </a:gridCol>
                <a:gridCol w="980388">
                  <a:extLst>
                    <a:ext uri="{9D8B030D-6E8A-4147-A177-3AD203B41FA5}">
                      <a16:colId xmlns:a16="http://schemas.microsoft.com/office/drawing/2014/main" val="366897828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Passage BM25</a:t>
                      </a:r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Question BM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Question Vector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1949336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ode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RR @1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RR @10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RR @1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RR @10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RR @1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RR @1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7964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odel 1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i="1" dirty="0"/>
                        <a:t>0.6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i="1" dirty="0"/>
                        <a:t>0.713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i="1" dirty="0"/>
                        <a:t>0.8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i="1" dirty="0"/>
                        <a:t>0.867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b="1" i="0" dirty="0"/>
                        <a:t>0.9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0.9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7167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odel 2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4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5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7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7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7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7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91564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odel 3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3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386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6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6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6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6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4588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odel 4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1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31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558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533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20895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odel 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5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61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7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7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7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7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0087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odel 6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0.7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0.77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0.9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0.9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0.9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i="1" dirty="0"/>
                        <a:t>0.9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33140905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CC50664-0787-8EC0-67AE-055376702CFC}"/>
              </a:ext>
            </a:extLst>
          </p:cNvPr>
          <p:cNvSpPr txBox="1"/>
          <p:nvPr/>
        </p:nvSpPr>
        <p:spPr>
          <a:xfrm>
            <a:off x="707010" y="4157221"/>
            <a:ext cx="793839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chemeClr val="accent2"/>
                </a:solidFill>
              </a:rPr>
              <a:t>Note: Even though Model 6 showed best MRRs, we went with Model 1 for the demo because of overfitting concerns.</a:t>
            </a:r>
          </a:p>
        </p:txBody>
      </p:sp>
    </p:spTree>
    <p:extLst>
      <p:ext uri="{BB962C8B-B14F-4D97-AF65-F5344CB8AC3E}">
        <p14:creationId xmlns:p14="http://schemas.microsoft.com/office/powerpoint/2010/main" val="3798238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F0C00B-70CC-453A-AD0F-7EC509747D1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76263" y="3795043"/>
            <a:ext cx="7991475" cy="842946"/>
          </a:xfrm>
        </p:spPr>
        <p:txBody>
          <a:bodyPr/>
          <a:lstStyle/>
          <a:p>
            <a:r>
              <a:rPr lang="en-US" dirty="0"/>
              <a:t>Joint work with Sharvari Jadhav, Data Scientist at Elsevier</a:t>
            </a:r>
          </a:p>
          <a:p>
            <a:r>
              <a:rPr lang="en-US" dirty="0"/>
              <a:t>Being taken forward by Will Dowling, Sr. Data Scientist at Elsevi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18BD1F-2F3B-49E7-ABDA-FCF6122BB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 / U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E374E53-E13D-ABB4-D74E-D5E734188A1A}"/>
              </a:ext>
            </a:extLst>
          </p:cNvPr>
          <p:cNvSpPr txBox="1">
            <a:spLocks/>
          </p:cNvSpPr>
          <p:nvPr/>
        </p:nvSpPr>
        <p:spPr>
          <a:xfrm>
            <a:off x="576263" y="700088"/>
            <a:ext cx="7991475" cy="10155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266700" algn="l"/>
              </a:tabLst>
              <a:defRPr lang="nl-NL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−"/>
              <a:defRPr lang="nl-NL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9750" indent="-1952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2163" indent="-1762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336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8738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echnology Research Director at Elsevier Health Markets</a:t>
            </a:r>
          </a:p>
          <a:p>
            <a:r>
              <a:rPr lang="en-US" dirty="0"/>
              <a:t>Previously Lucene / </a:t>
            </a:r>
            <a:r>
              <a:rPr lang="en-US" dirty="0" err="1"/>
              <a:t>Solr</a:t>
            </a:r>
            <a:r>
              <a:rPr lang="en-US" dirty="0"/>
              <a:t> search engineer, now Data Scientist</a:t>
            </a:r>
          </a:p>
          <a:p>
            <a:r>
              <a:rPr lang="en-US" dirty="0"/>
              <a:t>Interests: Search, NLP and AI / ML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EAB2A9D-955E-31AD-B6E4-F39157C97333}"/>
              </a:ext>
            </a:extLst>
          </p:cNvPr>
          <p:cNvGrpSpPr/>
          <p:nvPr/>
        </p:nvGrpSpPr>
        <p:grpSpPr>
          <a:xfrm>
            <a:off x="1415028" y="2091925"/>
            <a:ext cx="6313945" cy="1351386"/>
            <a:chOff x="1385939" y="2091925"/>
            <a:chExt cx="6313945" cy="1351386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EE3741B-B9F7-5827-791E-A2A5135EB605}"/>
                </a:ext>
              </a:extLst>
            </p:cNvPr>
            <p:cNvGrpSpPr/>
            <p:nvPr/>
          </p:nvGrpSpPr>
          <p:grpSpPr>
            <a:xfrm>
              <a:off x="1385939" y="2142891"/>
              <a:ext cx="1106192" cy="1256831"/>
              <a:chOff x="1404534" y="1821970"/>
              <a:chExt cx="1106192" cy="1256831"/>
            </a:xfrm>
          </p:grpSpPr>
          <p:pic>
            <p:nvPicPr>
              <p:cNvPr id="6" name="Picture 8">
                <a:extLst>
                  <a:ext uri="{FF2B5EF4-FFF2-40B4-BE49-F238E27FC236}">
                    <a16:creationId xmlns:a16="http://schemas.microsoft.com/office/drawing/2014/main" id="{48399AFF-34AF-D1E8-E153-589EA5442B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482025" y="1821970"/>
                <a:ext cx="952500" cy="937745"/>
              </a:xfrm>
              <a:prstGeom prst="rect">
                <a:avLst/>
              </a:prstGeom>
            </p:spPr>
          </p:pic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00ACB1D-53E6-5EFA-6C54-BE1A3A9418A6}"/>
                  </a:ext>
                </a:extLst>
              </p:cNvPr>
              <p:cNvSpPr txBox="1"/>
              <p:nvPr/>
            </p:nvSpPr>
            <p:spPr>
              <a:xfrm>
                <a:off x="1404534" y="2801802"/>
                <a:ext cx="1106192" cy="276999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200" b="1">
                    <a:solidFill>
                      <a:srgbClr val="EB6500"/>
                    </a:solidFill>
                    <a:latin typeface="Comic Sans MS"/>
                    <a:cs typeface="Arial"/>
                  </a:rPr>
                  <a:t>Will Dowling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0E2AD2B-FECB-8B0D-2059-ED2DE17DF51A}"/>
                </a:ext>
              </a:extLst>
            </p:cNvPr>
            <p:cNvGrpSpPr/>
            <p:nvPr/>
          </p:nvGrpSpPr>
          <p:grpSpPr>
            <a:xfrm>
              <a:off x="3904414" y="2116141"/>
              <a:ext cx="1430688" cy="1305377"/>
              <a:chOff x="3857625" y="1814593"/>
              <a:chExt cx="1430688" cy="1305377"/>
            </a:xfrm>
          </p:grpSpPr>
          <p:pic>
            <p:nvPicPr>
              <p:cNvPr id="9" name="Picture 9">
                <a:extLst>
                  <a:ext uri="{FF2B5EF4-FFF2-40B4-BE49-F238E27FC236}">
                    <a16:creationId xmlns:a16="http://schemas.microsoft.com/office/drawing/2014/main" id="{41FE6D39-416B-E454-B13C-EAE191A275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97364" y="1814593"/>
                <a:ext cx="952500" cy="952500"/>
              </a:xfrm>
              <a:prstGeom prst="rect">
                <a:avLst/>
              </a:prstGeom>
            </p:spPr>
          </p:pic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FEC83B7-D7CB-D9B6-3730-633AAF7D2C55}"/>
                  </a:ext>
                </a:extLst>
              </p:cNvPr>
              <p:cNvSpPr txBox="1"/>
              <p:nvPr/>
            </p:nvSpPr>
            <p:spPr>
              <a:xfrm>
                <a:off x="3857625" y="2838128"/>
                <a:ext cx="1430688" cy="281842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200" b="1">
                    <a:solidFill>
                      <a:srgbClr val="EB6500"/>
                    </a:solidFill>
                    <a:latin typeface="Comic Sans MS"/>
                    <a:cs typeface="Arial"/>
                  </a:rPr>
                  <a:t>Sharvari Jadhav</a:t>
                </a:r>
                <a:endParaRPr lang="en-US" sz="1200" b="1">
                  <a:solidFill>
                    <a:srgbClr val="EB6500"/>
                  </a:solidFill>
                  <a:latin typeface="Comic Sans MS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9C854EC-9F86-2F94-74A4-0D6B1C8A0C35}"/>
                </a:ext>
              </a:extLst>
            </p:cNvPr>
            <p:cNvGrpSpPr/>
            <p:nvPr/>
          </p:nvGrpSpPr>
          <p:grpSpPr>
            <a:xfrm>
              <a:off x="6747384" y="2091925"/>
              <a:ext cx="952500" cy="1351386"/>
              <a:chOff x="4097364" y="1766161"/>
              <a:chExt cx="952500" cy="1351386"/>
            </a:xfrm>
          </p:grpSpPr>
          <p:pic>
            <p:nvPicPr>
              <p:cNvPr id="12" name="Picture 10">
                <a:extLst>
                  <a:ext uri="{FF2B5EF4-FFF2-40B4-BE49-F238E27FC236}">
                    <a16:creationId xmlns:a16="http://schemas.microsoft.com/office/drawing/2014/main" id="{FF2CF6A2-E797-63FE-A1F2-158E3FB731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097364" y="1766161"/>
                <a:ext cx="952500" cy="952500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BE52982-B1F1-2F0E-DC96-3E4EA858256C}"/>
                  </a:ext>
                </a:extLst>
              </p:cNvPr>
              <p:cNvSpPr txBox="1"/>
              <p:nvPr/>
            </p:nvSpPr>
            <p:spPr>
              <a:xfrm>
                <a:off x="4121581" y="2840548"/>
                <a:ext cx="902777" cy="276999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200" b="1">
                    <a:solidFill>
                      <a:srgbClr val="EB6500"/>
                    </a:solidFill>
                    <a:latin typeface="Comic Sans MS"/>
                    <a:cs typeface="Arial"/>
                  </a:rPr>
                  <a:t>Sujit Pal</a:t>
                </a:r>
                <a:endParaRPr lang="en-US" sz="1200" b="1">
                  <a:solidFill>
                    <a:srgbClr val="EB6500"/>
                  </a:solidFill>
                  <a:latin typeface="Comic Sans M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8659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7A6D565-2A40-43E3-B871-21A2B60D36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onclusions</a:t>
            </a:r>
          </a:p>
        </p:txBody>
      </p:sp>
      <p:sp>
        <p:nvSpPr>
          <p:cNvPr id="2" name="TextBox 1">
            <a:hlinkClick r:id="rId3" action="ppaction://hlinksldjump"/>
            <a:extLst>
              <a:ext uri="{FF2B5EF4-FFF2-40B4-BE49-F238E27FC236}">
                <a16:creationId xmlns:a16="http://schemas.microsoft.com/office/drawing/2014/main" id="{B9F3A8B0-EC41-4BE5-BA02-E8A6CDD135D8}"/>
              </a:ext>
            </a:extLst>
          </p:cNvPr>
          <p:cNvSpPr txBox="1"/>
          <p:nvPr/>
        </p:nvSpPr>
        <p:spPr>
          <a:xfrm>
            <a:off x="3815222" y="4778217"/>
            <a:ext cx="15985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2"/>
                </a:solidFill>
                <a:hlinkClick r:id="rId3" action="ppaction://hlinksldjump"/>
              </a:rPr>
              <a:t>back to table of contents</a:t>
            </a:r>
            <a:endParaRPr lang="en-US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1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17B8AA-650A-7DA8-904E-9F8F2121E4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accent2"/>
                </a:solidFill>
              </a:rPr>
              <a:t>Fine Tuning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err="1"/>
              <a:t>MedQUAD</a:t>
            </a:r>
            <a:r>
              <a:rPr lang="en-US" dirty="0"/>
              <a:t> not a good dataset to fine-tune with, passages too shor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rrors in question generation – over / under-specified questions, nonsense questions, can be addressed by automatic or manual validatio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chemeClr val="accent2"/>
                </a:solidFill>
              </a:rPr>
              <a:t>Searc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docT5query approach provides better results for QA with less effor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an reuse search infrastructure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Scope for improvement in larger dataset selection, dataset preprocessing and cleaning, automatic and manual validation of generated questions, etc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D102FA-4D7B-D13C-090C-5664CE04D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ings</a:t>
            </a:r>
          </a:p>
        </p:txBody>
      </p:sp>
    </p:spTree>
    <p:extLst>
      <p:ext uri="{BB962C8B-B14F-4D97-AF65-F5344CB8AC3E}">
        <p14:creationId xmlns:p14="http://schemas.microsoft.com/office/powerpoint/2010/main" val="2658674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DA2D521-76C9-1465-7C89-BE20AF858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835026"/>
            <a:ext cx="7991475" cy="2275820"/>
          </a:xfrm>
        </p:spPr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Question Answering</a:t>
            </a:r>
            <a:r>
              <a:rPr lang="en-US" dirty="0"/>
              <a:t> – matching questions generated from documents to query to return answer passages</a:t>
            </a:r>
          </a:p>
          <a:p>
            <a:r>
              <a:rPr lang="en-US" b="1" dirty="0">
                <a:solidFill>
                  <a:schemeClr val="accent2"/>
                </a:solidFill>
              </a:rPr>
              <a:t>Matching patients with Clinical Trials</a:t>
            </a:r>
            <a:r>
              <a:rPr lang="en-US" dirty="0"/>
              <a:t> – matching keywords in patient history with questions generated from Clinical Trial descriptions</a:t>
            </a:r>
          </a:p>
          <a:p>
            <a:r>
              <a:rPr lang="en-US" b="1" dirty="0">
                <a:solidFill>
                  <a:schemeClr val="accent2"/>
                </a:solidFill>
              </a:rPr>
              <a:t>Document Intent</a:t>
            </a:r>
            <a:r>
              <a:rPr lang="en-US" dirty="0"/>
              <a:t> – measuring document utility by questions it can answer</a:t>
            </a:r>
          </a:p>
          <a:p>
            <a:r>
              <a:rPr lang="en-US" b="1" dirty="0">
                <a:solidFill>
                  <a:schemeClr val="accent2"/>
                </a:solidFill>
              </a:rPr>
              <a:t>Student Remediation</a:t>
            </a:r>
            <a:r>
              <a:rPr lang="en-US" dirty="0"/>
              <a:t> – matching incorrectly answered questions to the chapters / sections student must revise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E11E9C-C006-7F8F-A7D7-1CBF2E45C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CF79B69-BF33-A3AD-99B2-5BDCB87E9A03}"/>
              </a:ext>
            </a:extLst>
          </p:cNvPr>
          <p:cNvGrpSpPr/>
          <p:nvPr/>
        </p:nvGrpSpPr>
        <p:grpSpPr>
          <a:xfrm>
            <a:off x="1004718" y="3134642"/>
            <a:ext cx="7061466" cy="1549400"/>
            <a:chOff x="1004718" y="3251867"/>
            <a:chExt cx="7061466" cy="1549400"/>
          </a:xfrm>
        </p:grpSpPr>
        <p:pic>
          <p:nvPicPr>
            <p:cNvPr id="6" name="Picture 5" descr="A picture containing text, computer&#10;&#10;Description automatically generated">
              <a:extLst>
                <a:ext uri="{FF2B5EF4-FFF2-40B4-BE49-F238E27FC236}">
                  <a16:creationId xmlns:a16="http://schemas.microsoft.com/office/drawing/2014/main" id="{45918094-B513-CA0C-FE52-F5EC0F55E0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97734" y="3251867"/>
              <a:ext cx="1568450" cy="15494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B9515F1-4126-19CC-B491-0C9AC4D469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718" y="3253899"/>
              <a:ext cx="1545336" cy="1545336"/>
            </a:xfrm>
            <a:prstGeom prst="rect">
              <a:avLst/>
            </a:prstGeom>
          </p:spPr>
        </p:pic>
        <p:pic>
          <p:nvPicPr>
            <p:cNvPr id="10" name="Picture 9" descr="A picture containing person, toilet&#10;&#10;Description automatically generated">
              <a:extLst>
                <a:ext uri="{FF2B5EF4-FFF2-40B4-BE49-F238E27FC236}">
                  <a16:creationId xmlns:a16="http://schemas.microsoft.com/office/drawing/2014/main" id="{971C333B-1CB5-C7B2-17A8-975AB49E86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1819" y="3255019"/>
              <a:ext cx="1517904" cy="1543097"/>
            </a:xfrm>
            <a:prstGeom prst="rect">
              <a:avLst/>
            </a:prstGeom>
          </p:spPr>
        </p:pic>
        <p:pic>
          <p:nvPicPr>
            <p:cNvPr id="12" name="Picture 11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226B60FB-5094-4DD3-3B0E-228161197A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51488" y="3255724"/>
              <a:ext cx="1554480" cy="1541686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C5DA76AE-2536-4446-ED04-36C2B013AF70}"/>
              </a:ext>
            </a:extLst>
          </p:cNvPr>
          <p:cNvSpPr txBox="1"/>
          <p:nvPr/>
        </p:nvSpPr>
        <p:spPr>
          <a:xfrm>
            <a:off x="3506645" y="4817097"/>
            <a:ext cx="21307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dirty="0"/>
              <a:t>Image Credit: </a:t>
            </a:r>
            <a:r>
              <a:rPr lang="en-US" sz="800" i="1" dirty="0">
                <a:hlinkClick r:id="rId6"/>
              </a:rPr>
              <a:t>DALL-E Mini by </a:t>
            </a:r>
            <a:r>
              <a:rPr lang="en-US" sz="800" i="1" dirty="0" err="1">
                <a:hlinkClick r:id="rId6"/>
              </a:rPr>
              <a:t>craiyon.com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2700403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6FFE95-857D-443F-9741-F16873CE78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6263" y="1831764"/>
            <a:ext cx="3708400" cy="864300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1F6316-67C8-4836-B213-AD01C8E6DE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53763" y="2843572"/>
            <a:ext cx="2540704" cy="320510"/>
          </a:xfrm>
        </p:spPr>
        <p:txBody>
          <a:bodyPr/>
          <a:lstStyle/>
          <a:p>
            <a:r>
              <a:rPr lang="en-US" sz="1600" u="sng" dirty="0" err="1">
                <a:solidFill>
                  <a:schemeClr val="accent1">
                    <a:lumMod val="75000"/>
                  </a:schemeClr>
                </a:solidFill>
              </a:rPr>
              <a:t>sujit.pal@elsevier.com</a:t>
            </a:r>
            <a:endParaRPr lang="en-US" sz="1600" u="sng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F834B2-996A-497C-85E7-C49E69927C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3355450" y="25285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2052" name="Picture 4" descr="Image result for email logo icon">
            <a:extLst>
              <a:ext uri="{FF2B5EF4-FFF2-40B4-BE49-F238E27FC236}">
                <a16:creationId xmlns:a16="http://schemas.microsoft.com/office/drawing/2014/main" id="{629E8B28-DE53-C885-299D-FF1255AC93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238" y="2779799"/>
            <a:ext cx="448056" cy="44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twitter logo icon">
            <a:extLst>
              <a:ext uri="{FF2B5EF4-FFF2-40B4-BE49-F238E27FC236}">
                <a16:creationId xmlns:a16="http://schemas.microsoft.com/office/drawing/2014/main" id="{38B36DA5-5F5C-7DC7-B570-DF9ECB7DAD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238" y="3888424"/>
            <a:ext cx="448056" cy="44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1455A6E-FF33-9781-DF95-6031C582FA89}"/>
              </a:ext>
            </a:extLst>
          </p:cNvPr>
          <p:cNvSpPr txBox="1">
            <a:spLocks/>
          </p:cNvSpPr>
          <p:nvPr/>
        </p:nvSpPr>
        <p:spPr>
          <a:xfrm>
            <a:off x="1253763" y="3952197"/>
            <a:ext cx="2540704" cy="3205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lang="nl-NL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None/>
              <a:defRPr lang="nl-NL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None/>
              <a:defRPr lang="nl-NL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None/>
              <a:defRPr lang="nl-NL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None/>
              <a:defRPr lang="de-DE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9750" indent="-1952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2163" indent="-1762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336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8738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u="sng" dirty="0">
                <a:solidFill>
                  <a:schemeClr val="accent1">
                    <a:lumMod val="75000"/>
                  </a:schemeClr>
                </a:solidFill>
              </a:rPr>
              <a:t>@</a:t>
            </a:r>
            <a:r>
              <a:rPr lang="en-US" sz="1600" u="sng" dirty="0" err="1">
                <a:solidFill>
                  <a:schemeClr val="accent1">
                    <a:lumMod val="75000"/>
                  </a:schemeClr>
                </a:solidFill>
              </a:rPr>
              <a:t>palsujit</a:t>
            </a:r>
            <a:endParaRPr lang="en-US" sz="1600" u="sng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2050" name="Picture 2" descr="Image result for mastodon logo icon">
            <a:extLst>
              <a:ext uri="{FF2B5EF4-FFF2-40B4-BE49-F238E27FC236}">
                <a16:creationId xmlns:a16="http://schemas.microsoft.com/office/drawing/2014/main" id="{F768C784-57F6-7A75-64EF-84FE65AE66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905" y="4437470"/>
            <a:ext cx="446723" cy="446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ACCF395-FA1B-3334-F15F-4B9EF5947B88}"/>
              </a:ext>
            </a:extLst>
          </p:cNvPr>
          <p:cNvSpPr txBox="1">
            <a:spLocks/>
          </p:cNvSpPr>
          <p:nvPr/>
        </p:nvSpPr>
        <p:spPr>
          <a:xfrm>
            <a:off x="1253763" y="4500576"/>
            <a:ext cx="2809187" cy="3205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lang="nl-NL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None/>
              <a:defRPr lang="nl-NL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None/>
              <a:defRPr lang="nl-NL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None/>
              <a:defRPr lang="nl-NL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None/>
              <a:defRPr lang="de-DE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9750" indent="-1952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2163" indent="-1762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336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8738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0" i="0" u="sng" dirty="0">
                <a:solidFill>
                  <a:schemeClr val="accent1">
                    <a:lumMod val="75000"/>
                  </a:schemeClr>
                </a:solidFill>
                <a:effectLst/>
              </a:rPr>
              <a:t>@</a:t>
            </a:r>
            <a:r>
              <a:rPr lang="en-US" sz="1600" b="0" i="0" u="sng" dirty="0" err="1">
                <a:solidFill>
                  <a:schemeClr val="accent1">
                    <a:lumMod val="75000"/>
                  </a:schemeClr>
                </a:solidFill>
                <a:effectLst/>
              </a:rPr>
              <a:t>palsujit@hachyderm.io</a:t>
            </a:r>
            <a:endParaRPr lang="en-US" sz="1600" u="sng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2058" name="Picture 10" descr="Linkedin logo - Free social icons">
            <a:extLst>
              <a:ext uri="{FF2B5EF4-FFF2-40B4-BE49-F238E27FC236}">
                <a16:creationId xmlns:a16="http://schemas.microsoft.com/office/drawing/2014/main" id="{9EACEEFE-AD66-3070-1BD8-D3E0D82C49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238" y="3339379"/>
            <a:ext cx="448056" cy="44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5AC08D-FDC8-23D2-7486-A60EEECC5CDF}"/>
              </a:ext>
            </a:extLst>
          </p:cNvPr>
          <p:cNvSpPr txBox="1">
            <a:spLocks/>
          </p:cNvSpPr>
          <p:nvPr/>
        </p:nvSpPr>
        <p:spPr>
          <a:xfrm>
            <a:off x="1253763" y="3403152"/>
            <a:ext cx="2540704" cy="3205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lang="nl-NL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None/>
              <a:defRPr lang="nl-NL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None/>
              <a:defRPr lang="nl-NL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None/>
              <a:defRPr lang="nl-NL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None/>
              <a:defRPr lang="de-DE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9750" indent="-1952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2163" indent="-1762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336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8738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u="sng" dirty="0">
                <a:solidFill>
                  <a:schemeClr val="accent1">
                    <a:lumMod val="75000"/>
                  </a:schemeClr>
                </a:solidFill>
              </a:rPr>
              <a:t>@</a:t>
            </a:r>
            <a:r>
              <a:rPr lang="en-US" sz="1600" u="sng" dirty="0" err="1">
                <a:solidFill>
                  <a:schemeClr val="accent1">
                    <a:lumMod val="75000"/>
                  </a:schemeClr>
                </a:solidFill>
              </a:rPr>
              <a:t>sujitpal</a:t>
            </a:r>
            <a:endParaRPr lang="en-US" sz="1600" u="sng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58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18BD1F-2F3B-49E7-ABDA-FCF6122BB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03E8AA81-E727-E4E8-B5DD-F01A625A5F3D}"/>
              </a:ext>
            </a:extLst>
          </p:cNvPr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1336630163"/>
              </p:ext>
            </p:extLst>
          </p:nvPr>
        </p:nvGraphicFramePr>
        <p:xfrm>
          <a:off x="576263" y="835025"/>
          <a:ext cx="7991475" cy="38973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66738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7A6D565-2A40-43E3-B871-21A2B60D36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istory</a:t>
            </a:r>
          </a:p>
        </p:txBody>
      </p:sp>
      <p:sp>
        <p:nvSpPr>
          <p:cNvPr id="2" name="TextBox 1">
            <a:hlinkClick r:id="rId3" action="ppaction://hlinksldjump"/>
            <a:extLst>
              <a:ext uri="{FF2B5EF4-FFF2-40B4-BE49-F238E27FC236}">
                <a16:creationId xmlns:a16="http://schemas.microsoft.com/office/drawing/2014/main" id="{B9F3A8B0-EC41-4BE5-BA02-E8A6CDD135D8}"/>
              </a:ext>
            </a:extLst>
          </p:cNvPr>
          <p:cNvSpPr txBox="1"/>
          <p:nvPr/>
        </p:nvSpPr>
        <p:spPr>
          <a:xfrm>
            <a:off x="3815222" y="4778217"/>
            <a:ext cx="15985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2"/>
                </a:solidFill>
                <a:hlinkClick r:id="rId3" action="ppaction://hlinksldjump"/>
              </a:rPr>
              <a:t>back to table of contents</a:t>
            </a:r>
            <a:endParaRPr lang="en-US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45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A8FB53A2-6A72-A1A3-E272-F0C5455E79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336" y="1120121"/>
            <a:ext cx="3708401" cy="2516414"/>
          </a:xfrm>
          <a:prstGeom prst="rect">
            <a:avLst/>
          </a:prstGeom>
          <a:noFill/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14642346-ACC2-451B-ABC2-CA9C562E9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835025"/>
            <a:ext cx="3708400" cy="3897313"/>
          </a:xfrm>
        </p:spPr>
        <p:txBody>
          <a:bodyPr>
            <a:normAutofit/>
          </a:bodyPr>
          <a:lstStyle/>
          <a:p>
            <a:pPr lvl="1"/>
            <a:r>
              <a:rPr lang="en-US" sz="1600" dirty="0"/>
              <a:t>Question Answer pairs created manually for “important” topics</a:t>
            </a:r>
          </a:p>
          <a:p>
            <a:pPr lvl="1"/>
            <a:r>
              <a:rPr lang="en-US" sz="1600" dirty="0"/>
              <a:t>If query “looks like” question AND “matches” stored questions, show Question Answer pair as top result</a:t>
            </a:r>
          </a:p>
          <a:p>
            <a:pPr lvl="1"/>
            <a:r>
              <a:rPr lang="en-US" sz="1600" dirty="0"/>
              <a:t>similar strategy to support for calculators, topic pages, other callouts</a:t>
            </a:r>
          </a:p>
          <a:p>
            <a:pPr lvl="1"/>
            <a:r>
              <a:rPr lang="en-US" sz="1600" dirty="0"/>
              <a:t>problem: does not scale for large numbers of questions and answers</a:t>
            </a:r>
          </a:p>
          <a:p>
            <a:pPr lvl="1"/>
            <a:endParaRPr lang="en-US" sz="1600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9D98065-DF7B-49AD-8ADA-67533AC88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US" dirty="0"/>
              <a:t>Manual FAQ Creation (2015-2017)</a:t>
            </a:r>
          </a:p>
        </p:txBody>
      </p:sp>
    </p:spTree>
    <p:extLst>
      <p:ext uri="{BB962C8B-B14F-4D97-AF65-F5344CB8AC3E}">
        <p14:creationId xmlns:p14="http://schemas.microsoft.com/office/powerpoint/2010/main" val="1779097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14642346-ACC2-451B-ABC2-CA9C562E9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835025"/>
            <a:ext cx="4080578" cy="3812389"/>
          </a:xfrm>
        </p:spPr>
        <p:txBody>
          <a:bodyPr/>
          <a:lstStyle/>
          <a:p>
            <a:r>
              <a:rPr lang="en-US" dirty="0"/>
              <a:t>Motivated by SQUAD benchmarks showing super-human performance on reading comprehension tasks</a:t>
            </a:r>
          </a:p>
          <a:p>
            <a:r>
              <a:rPr lang="en-US" dirty="0"/>
              <a:t>Adapted retriever-reader architecture (BERTSerini)</a:t>
            </a:r>
          </a:p>
          <a:p>
            <a:r>
              <a:rPr lang="en-US" dirty="0"/>
              <a:t>Our experiments: 23M paras       from 5000 medical books</a:t>
            </a:r>
          </a:p>
          <a:p>
            <a:r>
              <a:rPr lang="en-US" dirty="0"/>
              <a:t>Improved reading comprehension.    results via fine-tuning    </a:t>
            </a:r>
          </a:p>
          <a:p>
            <a:r>
              <a:rPr lang="en-US" dirty="0"/>
              <a:t>Answer quality not good enough</a:t>
            </a:r>
          </a:p>
          <a:p>
            <a:pPr lvl="1"/>
            <a:r>
              <a:rPr lang="en-US" dirty="0"/>
              <a:t>0.45 @1; 0.6 @5</a:t>
            </a:r>
          </a:p>
          <a:p>
            <a:r>
              <a:rPr lang="en-US" dirty="0"/>
              <a:t>Put on hold until SOTA improves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9D98065-DF7B-49AD-8ADA-67533AC88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/>
          <a:lstStyle/>
          <a:p>
            <a:r>
              <a:rPr lang="en-US" dirty="0"/>
              <a:t>Automated Open Domain QA (2019-2020)</a:t>
            </a:r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CF2BCC6D-20FD-D438-EB59-D0D822E7F1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3101" y="665115"/>
            <a:ext cx="3898900" cy="1714500"/>
          </a:xfrm>
          <a:prstGeom prst="rect">
            <a:avLst/>
          </a:prstGeom>
        </p:spPr>
      </p:pic>
      <p:graphicFrame>
        <p:nvGraphicFramePr>
          <p:cNvPr id="3" name="Table 72">
            <a:extLst>
              <a:ext uri="{FF2B5EF4-FFF2-40B4-BE49-F238E27FC236}">
                <a16:creationId xmlns:a16="http://schemas.microsoft.com/office/drawing/2014/main" id="{AEE29D1C-CA2C-590E-32CB-D19112E70B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3124436"/>
              </p:ext>
            </p:extLst>
          </p:nvPr>
        </p:nvGraphicFramePr>
        <p:xfrm>
          <a:off x="4299397" y="2457388"/>
          <a:ext cx="4477284" cy="101090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21280">
                  <a:extLst>
                    <a:ext uri="{9D8B030D-6E8A-4147-A177-3AD203B41FA5}">
                      <a16:colId xmlns:a16="http://schemas.microsoft.com/office/drawing/2014/main" val="3345006042"/>
                    </a:ext>
                  </a:extLst>
                </a:gridCol>
                <a:gridCol w="867508">
                  <a:extLst>
                    <a:ext uri="{9D8B030D-6E8A-4147-A177-3AD203B41FA5}">
                      <a16:colId xmlns:a16="http://schemas.microsoft.com/office/drawing/2014/main" val="1734505994"/>
                    </a:ext>
                  </a:extLst>
                </a:gridCol>
                <a:gridCol w="883138">
                  <a:extLst>
                    <a:ext uri="{9D8B030D-6E8A-4147-A177-3AD203B41FA5}">
                      <a16:colId xmlns:a16="http://schemas.microsoft.com/office/drawing/2014/main" val="2407402396"/>
                    </a:ext>
                  </a:extLst>
                </a:gridCol>
                <a:gridCol w="781539">
                  <a:extLst>
                    <a:ext uri="{9D8B030D-6E8A-4147-A177-3AD203B41FA5}">
                      <a16:colId xmlns:a16="http://schemas.microsoft.com/office/drawing/2014/main" val="2520645570"/>
                    </a:ext>
                  </a:extLst>
                </a:gridCol>
                <a:gridCol w="1023819">
                  <a:extLst>
                    <a:ext uri="{9D8B030D-6E8A-4147-A177-3AD203B41FA5}">
                      <a16:colId xmlns:a16="http://schemas.microsoft.com/office/drawing/2014/main" val="3535893526"/>
                    </a:ext>
                  </a:extLst>
                </a:gridCol>
              </a:tblGrid>
              <a:tr h="463331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BERT 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PAN B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SciBERT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SciBERT+CK</a:t>
                      </a: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660754"/>
                  </a:ext>
                </a:extLst>
              </a:tr>
              <a:tr h="273787">
                <a:tc>
                  <a:txBody>
                    <a:bodyPr/>
                    <a:lstStyle/>
                    <a:p>
                      <a:r>
                        <a:rPr lang="en-US" sz="1000" dirty="0"/>
                        <a:t>SQUAD 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7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6.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1913288"/>
                  </a:ext>
                </a:extLst>
              </a:tr>
              <a:tr h="273787">
                <a:tc>
                  <a:txBody>
                    <a:bodyPr/>
                    <a:lstStyle/>
                    <a:p>
                      <a:r>
                        <a:rPr lang="en-US" sz="1000" dirty="0"/>
                        <a:t>MedSQU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7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90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9489717"/>
                  </a:ext>
                </a:extLst>
              </a:tr>
            </a:tbl>
          </a:graphicData>
        </a:graphic>
      </p:graphicFrame>
      <p:graphicFrame>
        <p:nvGraphicFramePr>
          <p:cNvPr id="4" name="Table 73">
            <a:extLst>
              <a:ext uri="{FF2B5EF4-FFF2-40B4-BE49-F238E27FC236}">
                <a16:creationId xmlns:a16="http://schemas.microsoft.com/office/drawing/2014/main" id="{D2CF93CB-5AF2-ED85-CCD4-895638D4B9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0977800"/>
              </p:ext>
            </p:extLst>
          </p:nvPr>
        </p:nvGraphicFramePr>
        <p:xfrm>
          <a:off x="4299397" y="3861762"/>
          <a:ext cx="4477284" cy="58282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22402">
                  <a:extLst>
                    <a:ext uri="{9D8B030D-6E8A-4147-A177-3AD203B41FA5}">
                      <a16:colId xmlns:a16="http://schemas.microsoft.com/office/drawing/2014/main" val="1508064279"/>
                    </a:ext>
                  </a:extLst>
                </a:gridCol>
                <a:gridCol w="1118294">
                  <a:extLst>
                    <a:ext uri="{9D8B030D-6E8A-4147-A177-3AD203B41FA5}">
                      <a16:colId xmlns:a16="http://schemas.microsoft.com/office/drawing/2014/main" val="931489112"/>
                    </a:ext>
                  </a:extLst>
                </a:gridCol>
                <a:gridCol w="1118294">
                  <a:extLst>
                    <a:ext uri="{9D8B030D-6E8A-4147-A177-3AD203B41FA5}">
                      <a16:colId xmlns:a16="http://schemas.microsoft.com/office/drawing/2014/main" val="3534521858"/>
                    </a:ext>
                  </a:extLst>
                </a:gridCol>
                <a:gridCol w="1118294">
                  <a:extLst>
                    <a:ext uri="{9D8B030D-6E8A-4147-A177-3AD203B41FA5}">
                      <a16:colId xmlns:a16="http://schemas.microsoft.com/office/drawing/2014/main" val="513165034"/>
                    </a:ext>
                  </a:extLst>
                </a:gridCol>
              </a:tblGrid>
              <a:tr h="291413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K=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K=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K=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8124585"/>
                  </a:ext>
                </a:extLst>
              </a:tr>
              <a:tr h="291413">
                <a:tc>
                  <a:txBody>
                    <a:bodyPr/>
                    <a:lstStyle/>
                    <a:p>
                      <a:r>
                        <a:rPr lang="en-US" sz="1000" dirty="0"/>
                        <a:t>CK_3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046364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65843B4-8FBC-DF0B-00C5-A87A5A6B4C60}"/>
              </a:ext>
            </a:extLst>
          </p:cNvPr>
          <p:cNvSpPr txBox="1"/>
          <p:nvPr/>
        </p:nvSpPr>
        <p:spPr>
          <a:xfrm>
            <a:off x="5224425" y="3554660"/>
            <a:ext cx="26272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Eval Scores (F1): Neural Component alo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CAE84B-3435-37E2-91E5-3D707FA9041D}"/>
              </a:ext>
            </a:extLst>
          </p:cNvPr>
          <p:cNvSpPr txBox="1"/>
          <p:nvPr/>
        </p:nvSpPr>
        <p:spPr>
          <a:xfrm>
            <a:off x="5623260" y="4488567"/>
            <a:ext cx="18295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Eval Scores (F1): End to en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1EF711-5DBB-2E0B-BA13-3A95A52752A0}"/>
              </a:ext>
            </a:extLst>
          </p:cNvPr>
          <p:cNvSpPr txBox="1"/>
          <p:nvPr/>
        </p:nvSpPr>
        <p:spPr>
          <a:xfrm>
            <a:off x="2282752" y="4798242"/>
            <a:ext cx="457849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dirty="0"/>
              <a:t>Image Credit: </a:t>
            </a:r>
            <a:r>
              <a:rPr lang="en-US" sz="800" i="1" dirty="0">
                <a:hlinkClick r:id="rId4"/>
              </a:rPr>
              <a:t>End to end Open-Domain Question Answering with BERTSerini</a:t>
            </a:r>
            <a:r>
              <a:rPr lang="en-US" sz="800" i="1" dirty="0"/>
              <a:t> (Wang et al, 2019)</a:t>
            </a:r>
          </a:p>
        </p:txBody>
      </p:sp>
    </p:spTree>
    <p:extLst>
      <p:ext uri="{BB962C8B-B14F-4D97-AF65-F5344CB8AC3E}">
        <p14:creationId xmlns:p14="http://schemas.microsoft.com/office/powerpoint/2010/main" val="425235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14642346-ACC2-451B-ABC2-CA9C562E9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4336609" cy="3812389"/>
          </a:xfrm>
        </p:spPr>
        <p:txBody>
          <a:bodyPr>
            <a:normAutofit/>
          </a:bodyPr>
          <a:lstStyle/>
          <a:p>
            <a:r>
              <a:rPr lang="en-US" sz="1600" dirty="0"/>
              <a:t>Pipeline remains largely similar</a:t>
            </a:r>
          </a:p>
          <a:p>
            <a:r>
              <a:rPr lang="en-US" sz="1600" dirty="0"/>
              <a:t>Retriever-reader variously morphed:</a:t>
            </a:r>
          </a:p>
          <a:p>
            <a:pPr lvl="1"/>
            <a:r>
              <a:rPr lang="en-US" sz="1400" dirty="0"/>
              <a:t>Retriever </a:t>
            </a:r>
            <a:r>
              <a:rPr lang="en-US" sz="1400" dirty="0">
                <a:sym typeface="Wingdings" pitchFamily="2" charset="2"/>
              </a:rPr>
              <a:t></a:t>
            </a:r>
            <a:r>
              <a:rPr lang="en-US" sz="1400" dirty="0"/>
              <a:t> trained model (Dense Retriever)</a:t>
            </a:r>
          </a:p>
          <a:p>
            <a:pPr lvl="1"/>
            <a:r>
              <a:rPr lang="en-US" sz="1400" dirty="0"/>
              <a:t>Additional re-ranker model between Reader and Retriever</a:t>
            </a:r>
          </a:p>
          <a:p>
            <a:pPr lvl="1"/>
            <a:r>
              <a:rPr lang="en-US" sz="1400" dirty="0"/>
              <a:t>Reader </a:t>
            </a:r>
            <a:r>
              <a:rPr lang="en-US" sz="1400" dirty="0">
                <a:sym typeface="Wingdings" pitchFamily="2" charset="2"/>
              </a:rPr>
              <a:t></a:t>
            </a:r>
            <a:r>
              <a:rPr lang="en-US" sz="1400" dirty="0"/>
              <a:t> Generator </a:t>
            </a:r>
          </a:p>
          <a:p>
            <a:pPr lvl="1"/>
            <a:r>
              <a:rPr lang="en-US" sz="1400" dirty="0"/>
              <a:t>Jointly train Reader and Retriever</a:t>
            </a:r>
          </a:p>
          <a:p>
            <a:pPr lvl="1"/>
            <a:r>
              <a:rPr lang="en-US" sz="1400" dirty="0"/>
              <a:t>Generator only systems (</a:t>
            </a:r>
            <a:r>
              <a:rPr lang="en-US" sz="1400" dirty="0" err="1"/>
              <a:t>ChatGPT</a:t>
            </a:r>
            <a:r>
              <a:rPr lang="en-US" sz="1400" dirty="0"/>
              <a:t>)</a:t>
            </a:r>
          </a:p>
          <a:p>
            <a:r>
              <a:rPr lang="en-US" sz="1600" dirty="0"/>
              <a:t>Accompanied by improvements in vector search and serving infrastructure</a:t>
            </a:r>
          </a:p>
          <a:p>
            <a:r>
              <a:rPr lang="en-US" sz="1600" dirty="0"/>
              <a:t>Models need tuning with labeled data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9D98065-DF7B-49AD-8ADA-67533AC88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/>
          <a:lstStyle/>
          <a:p>
            <a:r>
              <a:rPr lang="en-US" dirty="0"/>
              <a:t>Improvements in Question Answering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3F641A8E-9318-D4EE-AD9D-A3CD8F2D7F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2871" y="1306364"/>
            <a:ext cx="3980180" cy="2682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C7F6DE-6D64-303D-C8B8-847E93877A0E}"/>
              </a:ext>
            </a:extLst>
          </p:cNvPr>
          <p:cNvSpPr txBox="1"/>
          <p:nvPr/>
        </p:nvSpPr>
        <p:spPr>
          <a:xfrm>
            <a:off x="2001425" y="4647414"/>
            <a:ext cx="51411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/>
              <a:t>Image Credit: </a:t>
            </a:r>
            <a:r>
              <a:rPr lang="en-US" sz="1000" i="1" dirty="0">
                <a:hlinkClick r:id="rId4"/>
              </a:rPr>
              <a:t>How to build an Open-Domain Question Answering System</a:t>
            </a:r>
            <a:r>
              <a:rPr lang="en-US" sz="1000" i="1" dirty="0"/>
              <a:t> (Weng, 2020)</a:t>
            </a:r>
          </a:p>
        </p:txBody>
      </p:sp>
    </p:spTree>
    <p:extLst>
      <p:ext uri="{BB962C8B-B14F-4D97-AF65-F5344CB8AC3E}">
        <p14:creationId xmlns:p14="http://schemas.microsoft.com/office/powerpoint/2010/main" val="346769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7A6D565-2A40-43E3-B871-21A2B60D36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2" name="TextBox 1">
            <a:hlinkClick r:id="rId3" action="ppaction://hlinksldjump"/>
            <a:extLst>
              <a:ext uri="{FF2B5EF4-FFF2-40B4-BE49-F238E27FC236}">
                <a16:creationId xmlns:a16="http://schemas.microsoft.com/office/drawing/2014/main" id="{B9F3A8B0-EC41-4BE5-BA02-E8A6CDD135D8}"/>
              </a:ext>
            </a:extLst>
          </p:cNvPr>
          <p:cNvSpPr txBox="1"/>
          <p:nvPr/>
        </p:nvSpPr>
        <p:spPr>
          <a:xfrm>
            <a:off x="3815222" y="4778217"/>
            <a:ext cx="15985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2"/>
                </a:solidFill>
                <a:hlinkClick r:id="rId3" action="ppaction://hlinksldjump"/>
              </a:rPr>
              <a:t>back to table of contents</a:t>
            </a:r>
            <a:endParaRPr lang="en-US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89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14642346-ACC2-451B-ABC2-CA9C562E9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4259689" cy="3812389"/>
          </a:xfrm>
        </p:spPr>
        <p:txBody>
          <a:bodyPr>
            <a:normAutofit/>
          </a:bodyPr>
          <a:lstStyle/>
          <a:p>
            <a:r>
              <a:rPr lang="en-US" dirty="0"/>
              <a:t>doc2query (and docT5query) proposes augmenting passages with generated questions to improve retrieval effectiveness</a:t>
            </a:r>
          </a:p>
          <a:p>
            <a:r>
              <a:rPr lang="en-US" dirty="0"/>
              <a:t>Better results than BM25 but not as good as tuned reader-retriever</a:t>
            </a:r>
          </a:p>
          <a:p>
            <a:r>
              <a:rPr lang="en-US" dirty="0"/>
              <a:t>Low latency achieved by pushing expensive neural inference to indexing time.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/>
                </a:solidFill>
              </a:rPr>
              <a:t>practical way to achieve question answering with existing search infra?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9D98065-DF7B-49AD-8ADA-67533AC88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/>
          <a:lstStyle/>
          <a:p>
            <a:r>
              <a:rPr lang="en-US" dirty="0"/>
              <a:t>FAQ style but predict queries</a:t>
            </a:r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DF42BB78-54D5-6FE1-EBA1-F15F4F04CC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5312" y="674769"/>
            <a:ext cx="3705225" cy="2466975"/>
          </a:xfrm>
          <a:prstGeom prst="rect">
            <a:avLst/>
          </a:prstGeom>
        </p:spPr>
      </p:pic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B64EFD24-79AA-BC3B-615D-B54CE90CCF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9024686"/>
              </p:ext>
            </p:extLst>
          </p:nvPr>
        </p:nvGraphicFramePr>
        <p:xfrm>
          <a:off x="5448697" y="3202511"/>
          <a:ext cx="2972471" cy="1440309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1188988">
                  <a:extLst>
                    <a:ext uri="{9D8B030D-6E8A-4147-A177-3AD203B41FA5}">
                      <a16:colId xmlns:a16="http://schemas.microsoft.com/office/drawing/2014/main" val="2067066619"/>
                    </a:ext>
                  </a:extLst>
                </a:gridCol>
                <a:gridCol w="941591">
                  <a:extLst>
                    <a:ext uri="{9D8B030D-6E8A-4147-A177-3AD203B41FA5}">
                      <a16:colId xmlns:a16="http://schemas.microsoft.com/office/drawing/2014/main" val="4115469680"/>
                    </a:ext>
                  </a:extLst>
                </a:gridCol>
                <a:gridCol w="841892">
                  <a:extLst>
                    <a:ext uri="{9D8B030D-6E8A-4147-A177-3AD203B41FA5}">
                      <a16:colId xmlns:a16="http://schemas.microsoft.com/office/drawing/2014/main" val="14929533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Eval MRR @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Latency (</a:t>
                      </a:r>
                      <a:r>
                        <a:rPr lang="en-US" sz="1000" dirty="0" err="1"/>
                        <a:t>ms</a:t>
                      </a:r>
                      <a:r>
                        <a:rPr lang="en-US" sz="10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8504273"/>
                  </a:ext>
                </a:extLst>
              </a:tr>
              <a:tr h="261411">
                <a:tc>
                  <a:txBody>
                    <a:bodyPr/>
                    <a:lstStyle/>
                    <a:p>
                      <a:r>
                        <a:rPr lang="en-US" sz="1000" b="1" dirty="0"/>
                        <a:t>BM25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8.6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55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9641345"/>
                  </a:ext>
                </a:extLst>
              </a:tr>
              <a:tr h="282804">
                <a:tc>
                  <a:txBody>
                    <a:bodyPr/>
                    <a:lstStyle/>
                    <a:p>
                      <a:r>
                        <a:rPr lang="en-US" sz="1000" b="1" dirty="0"/>
                        <a:t>doc2query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1.8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1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3499540"/>
                  </a:ext>
                </a:extLst>
              </a:tr>
              <a:tr h="245097">
                <a:tc>
                  <a:txBody>
                    <a:bodyPr/>
                    <a:lstStyle/>
                    <a:p>
                      <a:r>
                        <a:rPr lang="en-US" sz="1000" b="1" dirty="0"/>
                        <a:t>docT5query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7.2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4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559097"/>
                  </a:ext>
                </a:extLst>
              </a:tr>
              <a:tr h="254757">
                <a:tc>
                  <a:txBody>
                    <a:bodyPr/>
                    <a:lstStyle/>
                    <a:p>
                      <a:r>
                        <a:rPr lang="en-US" sz="1000" b="1" dirty="0"/>
                        <a:t>BM25 + BERT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6.8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500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891811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603C746-72E4-CA18-4E64-13209A3F175B}"/>
              </a:ext>
            </a:extLst>
          </p:cNvPr>
          <p:cNvSpPr txBox="1"/>
          <p:nvPr/>
        </p:nvSpPr>
        <p:spPr>
          <a:xfrm>
            <a:off x="2684304" y="4751110"/>
            <a:ext cx="37753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dirty="0"/>
              <a:t>Image Credit: </a:t>
            </a:r>
            <a:r>
              <a:rPr lang="en-US" sz="800" i="1" dirty="0">
                <a:hlinkClick r:id="rId4"/>
              </a:rPr>
              <a:t>Document Expansion by Query Prediction</a:t>
            </a:r>
            <a:r>
              <a:rPr lang="en-US" sz="800" i="1" dirty="0"/>
              <a:t> (Nogueira et al, 2019)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0EBC845-88A7-6E8D-3A6C-C6FA3D2233D2}"/>
              </a:ext>
            </a:extLst>
          </p:cNvPr>
          <p:cNvGrpSpPr/>
          <p:nvPr/>
        </p:nvGrpSpPr>
        <p:grpSpPr>
          <a:xfrm>
            <a:off x="793420" y="3564854"/>
            <a:ext cx="953684" cy="347221"/>
            <a:chOff x="3649741" y="3291328"/>
            <a:chExt cx="953684" cy="347221"/>
          </a:xfrm>
        </p:grpSpPr>
        <p:pic>
          <p:nvPicPr>
            <p:cNvPr id="5122" name="Picture 2" descr="Light Bulb on OpenMoji 14.0">
              <a:extLst>
                <a:ext uri="{FF2B5EF4-FFF2-40B4-BE49-F238E27FC236}">
                  <a16:creationId xmlns:a16="http://schemas.microsoft.com/office/drawing/2014/main" id="{3469A8D0-AB19-1DF5-E4D5-AF9E85D94B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9741" y="3291328"/>
              <a:ext cx="347221" cy="347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 descr="Light Bulb on OpenMoji 14.0">
              <a:extLst>
                <a:ext uri="{FF2B5EF4-FFF2-40B4-BE49-F238E27FC236}">
                  <a16:creationId xmlns:a16="http://schemas.microsoft.com/office/drawing/2014/main" id="{31396B0C-801F-DA39-E604-7C44471690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2972" y="3291328"/>
              <a:ext cx="347221" cy="347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Light Bulb on OpenMoji 14.0">
              <a:extLst>
                <a:ext uri="{FF2B5EF4-FFF2-40B4-BE49-F238E27FC236}">
                  <a16:creationId xmlns:a16="http://schemas.microsoft.com/office/drawing/2014/main" id="{C3995C64-AB6D-9A78-4FC6-3C9C73389B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56204" y="3291328"/>
              <a:ext cx="347221" cy="347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33E0605-1304-B3AF-20CE-49AD2FF70D02}"/>
              </a:ext>
            </a:extLst>
          </p:cNvPr>
          <p:cNvGrpSpPr/>
          <p:nvPr/>
        </p:nvGrpSpPr>
        <p:grpSpPr>
          <a:xfrm>
            <a:off x="793420" y="4441641"/>
            <a:ext cx="953684" cy="347221"/>
            <a:chOff x="3649741" y="3291328"/>
            <a:chExt cx="953684" cy="347221"/>
          </a:xfrm>
        </p:grpSpPr>
        <p:pic>
          <p:nvPicPr>
            <p:cNvPr id="14" name="Picture 2" descr="Light Bulb on OpenMoji 14.0">
              <a:extLst>
                <a:ext uri="{FF2B5EF4-FFF2-40B4-BE49-F238E27FC236}">
                  <a16:creationId xmlns:a16="http://schemas.microsoft.com/office/drawing/2014/main" id="{72A6986A-5826-A913-AE61-527CDC1426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9741" y="3291328"/>
              <a:ext cx="347221" cy="347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Light Bulb on OpenMoji 14.0">
              <a:extLst>
                <a:ext uri="{FF2B5EF4-FFF2-40B4-BE49-F238E27FC236}">
                  <a16:creationId xmlns:a16="http://schemas.microsoft.com/office/drawing/2014/main" id="{9929BB63-5D20-EB15-16C7-4A72930FE9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2972" y="3291328"/>
              <a:ext cx="347221" cy="347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2" descr="Light Bulb on OpenMoji 14.0">
              <a:extLst>
                <a:ext uri="{FF2B5EF4-FFF2-40B4-BE49-F238E27FC236}">
                  <a16:creationId xmlns:a16="http://schemas.microsoft.com/office/drawing/2014/main" id="{516A557A-19F9-E4AE-1062-8219E8A788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56204" y="3291328"/>
              <a:ext cx="347221" cy="347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02609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J0heV53PlGtRYX1JzAFO0FAAAAAAADAAAAAwADAAAAAQADAAEA////////BAAAAAMAEAALm6GqAtnBEU68A6dwI+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J0heV53PlGtRYX1JzAFO0DRGF0YQAbAAAABExpbmtlZFNoYXBlRGF0YQAFAAAAAAACTmFtZQAZAAAATGlua2VkU2hhcGVzRGF0YVByb3BlcnR5ABBWZXJzaW9uAAAAAAAJTGFzdFdyaXRlAMzT+5l6AQAAAAEA/////50AnQAAAAVfaWQAEAAAAASboaoC2cERTrwDp3Aj6coQA0RhdGEAKgAAAAhQcmVzZW50YXRpb25TY2FubmVkRm9yTGlua2VkU2hhcGVzAAEAAk5hbWUAJAAAAExpbmtlZFNoYXBlUHJlc2VudGF0aW9uU2V0dGluZ3NEYXRhABBWZXJzaW9uAAAAAAAJTGFzdFdyaXRlAN/T+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b566149e-3710-4e24-8c13-ab592f63e281"/>
  <p:tag name="UNDO_REDO_REVISION" val="91"/>
  <p:tag name="MIO_PRESENTATION_LANGUAGE" val="1033"/>
</p:tagLst>
</file>

<file path=ppt/theme/theme1.xml><?xml version="1.0" encoding="utf-8"?>
<a:theme xmlns:a="http://schemas.openxmlformats.org/drawingml/2006/main" name="Elsevier light">
  <a:themeElements>
    <a:clrScheme name="Elsevier2_0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D9B95B7-7997-4FB9-A47B-A8D416D981DD}"/>
    </a:ext>
  </a:extLst>
</a:theme>
</file>

<file path=ppt/theme/theme2.xml><?xml version="1.0" encoding="utf-8"?>
<a:theme xmlns:a="http://schemas.openxmlformats.org/drawingml/2006/main" name="Elsevier light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1895935-4782-4ED3-9F2E-DA9302EF7568}"/>
    </a:ext>
  </a:extLst>
</a:theme>
</file>

<file path=ppt/theme/theme3.xml><?xml version="1.0" encoding="utf-8"?>
<a:theme xmlns:a="http://schemas.openxmlformats.org/drawingml/2006/main" name="Elsevier dark">
  <a:themeElements>
    <a:clrScheme name="Elsevier_2.0_Dark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0B725E11-DC5A-4140-B411-6A18A3B7ACAE}"/>
    </a:ext>
  </a:extLst>
</a:theme>
</file>

<file path=ppt/theme/theme4.xml><?xml version="1.0" encoding="utf-8"?>
<a:theme xmlns:a="http://schemas.openxmlformats.org/drawingml/2006/main" name="Elsevier dark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8CCF67CE-5720-4FD2-9BFE-20E687D7571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lsevier light</Template>
  <TotalTime>4324</TotalTime>
  <Words>1388</Words>
  <Application>Microsoft Macintosh PowerPoint</Application>
  <PresentationFormat>On-screen Show (16:9)</PresentationFormat>
  <Paragraphs>299</Paragraphs>
  <Slides>23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omic Sans MS</vt:lpstr>
      <vt:lpstr>Courier New</vt:lpstr>
      <vt:lpstr>Elsevier light</vt:lpstr>
      <vt:lpstr>Elsevier light - Charts and Data</vt:lpstr>
      <vt:lpstr>Elsevier dark</vt:lpstr>
      <vt:lpstr>Elsevier dark - Charts and Data</vt:lpstr>
      <vt:lpstr>A Cheap Trick for Question Answering</vt:lpstr>
      <vt:lpstr>About Me / Us</vt:lpstr>
      <vt:lpstr>Agenda</vt:lpstr>
      <vt:lpstr>PowerPoint Presentation</vt:lpstr>
      <vt:lpstr>Manual FAQ Creation (2015-2017)</vt:lpstr>
      <vt:lpstr>Automated Open Domain QA (2019-2020)</vt:lpstr>
      <vt:lpstr>Improvements in Question Answering</vt:lpstr>
      <vt:lpstr>PowerPoint Presentation</vt:lpstr>
      <vt:lpstr>FAQ style but predict queries</vt:lpstr>
      <vt:lpstr>docT5query flow contrasted with retriever-reader flow</vt:lpstr>
      <vt:lpstr>Other benefits of docT5query style</vt:lpstr>
      <vt:lpstr>PowerPoint Presentation</vt:lpstr>
      <vt:lpstr>Dataset and Model</vt:lpstr>
      <vt:lpstr>Overview of approach (Fine tuning)</vt:lpstr>
      <vt:lpstr>Overview of Approach (Search)</vt:lpstr>
      <vt:lpstr>PowerPoint Presentation</vt:lpstr>
      <vt:lpstr>PowerPoint Presentation</vt:lpstr>
      <vt:lpstr>Evaluation of Question Generation Models</vt:lpstr>
      <vt:lpstr>Evaluation of Question Answering Pipelines</vt:lpstr>
      <vt:lpstr>PowerPoint Presentation</vt:lpstr>
      <vt:lpstr>Findings</vt:lpstr>
      <vt:lpstr>Applicat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</dc:title>
  <dc:creator>Pal, Sujit (ELS-HBE)</dc:creator>
  <cp:lastModifiedBy>Pal, Sujit (ELS-HBE)</cp:lastModifiedBy>
  <cp:revision>89</cp:revision>
  <cp:lastPrinted>2018-07-23T12:36:44Z</cp:lastPrinted>
  <dcterms:created xsi:type="dcterms:W3CDTF">2023-04-16T18:31:37Z</dcterms:created>
  <dcterms:modified xsi:type="dcterms:W3CDTF">2023-04-20T18:29:21Z</dcterms:modified>
  <cp:version>1.0.0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dEntity">
    <vt:lpwstr>Templates</vt:lpwstr>
  </property>
  <property fmtid="{D5CDD505-2E9C-101B-9397-08002B2CF9AE}" pid="3" name="MSIP_Label_549ac42a-3eb4-4074-b885-aea26bd6241e_Enabled">
    <vt:lpwstr>true</vt:lpwstr>
  </property>
  <property fmtid="{D5CDD505-2E9C-101B-9397-08002B2CF9AE}" pid="4" name="MSIP_Label_549ac42a-3eb4-4074-b885-aea26bd6241e_SetDate">
    <vt:lpwstr>2023-04-16T18:32:03Z</vt:lpwstr>
  </property>
  <property fmtid="{D5CDD505-2E9C-101B-9397-08002B2CF9AE}" pid="5" name="MSIP_Label_549ac42a-3eb4-4074-b885-aea26bd6241e_Method">
    <vt:lpwstr>Standard</vt:lpwstr>
  </property>
  <property fmtid="{D5CDD505-2E9C-101B-9397-08002B2CF9AE}" pid="6" name="MSIP_Label_549ac42a-3eb4-4074-b885-aea26bd6241e_Name">
    <vt:lpwstr>General Business</vt:lpwstr>
  </property>
  <property fmtid="{D5CDD505-2E9C-101B-9397-08002B2CF9AE}" pid="7" name="MSIP_Label_549ac42a-3eb4-4074-b885-aea26bd6241e_SiteId">
    <vt:lpwstr>9274ee3f-9425-4109-a27f-9fb15c10675d</vt:lpwstr>
  </property>
  <property fmtid="{D5CDD505-2E9C-101B-9397-08002B2CF9AE}" pid="8" name="MSIP_Label_549ac42a-3eb4-4074-b885-aea26bd6241e_ActionId">
    <vt:lpwstr>96ea1d29-410f-429b-83a1-747b3618e285</vt:lpwstr>
  </property>
  <property fmtid="{D5CDD505-2E9C-101B-9397-08002B2CF9AE}" pid="9" name="MSIP_Label_549ac42a-3eb4-4074-b885-aea26bd6241e_ContentBits">
    <vt:lpwstr>0</vt:lpwstr>
  </property>
</Properties>
</file>